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2.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notesSlides/notesSlide3.xml" ContentType="application/vnd.openxmlformats-officedocument.presentationml.notesSlide+xml"/>
  <Override PartName="/ppt/tags/tag14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81" r:id="rId2"/>
  </p:sldMasterIdLst>
  <p:notesMasterIdLst>
    <p:notesMasterId r:id="rId12"/>
  </p:notesMasterIdLst>
  <p:handoutMasterIdLst>
    <p:handoutMasterId r:id="rId13"/>
  </p:handoutMasterIdLst>
  <p:sldIdLst>
    <p:sldId id="256" r:id="rId3"/>
    <p:sldId id="266" r:id="rId4"/>
    <p:sldId id="262" r:id="rId5"/>
    <p:sldId id="263" r:id="rId6"/>
    <p:sldId id="268" r:id="rId7"/>
    <p:sldId id="264" r:id="rId8"/>
    <p:sldId id="269" r:id="rId9"/>
    <p:sldId id="258" r:id="rId10"/>
    <p:sldId id="259" r:id="rId11"/>
  </p:sldIdLst>
  <p:sldSz cx="12192000" cy="6858000"/>
  <p:notesSz cx="9236075" cy="6950075"/>
  <p:custShowLst>
    <p:custShow name="Format Guide Workshop" id="0">
      <p:sldLst/>
    </p:custShow>
  </p:custShowLst>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199" autoAdjust="0"/>
  </p:normalViewPr>
  <p:slideViewPr>
    <p:cSldViewPr snapToGrid="0">
      <p:cViewPr>
        <p:scale>
          <a:sx n="66" d="100"/>
          <a:sy n="66" d="100"/>
        </p:scale>
        <p:origin x="68" y="23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5" d="100"/>
          <a:sy n="105" d="100"/>
        </p:scale>
        <p:origin x="120" y="180"/>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t>10/13/2018</a:t>
            </a:fld>
            <a:endParaRPr lang="en-US" sz="800" dirty="0"/>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a:defRPr sz="800"/>
            </a:lvl1pPr>
          </a:lstStyle>
          <a:p>
            <a:endParaRPr lang="en-US" dirty="0"/>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vl1pPr>
          </a:lstStyle>
          <a:p>
            <a:fld id="{3AD9BDA7-98EF-4344-B91C-30A07E8A84B0}" type="datetimeFigureOut">
              <a:rPr lang="en-US" smtClean="0"/>
              <a:pPr/>
              <a:t>10/13/2018</a:t>
            </a:fld>
            <a:endParaRPr lang="en-US" dirty="0"/>
          </a:p>
        </p:txBody>
      </p:sp>
      <p:sp>
        <p:nvSpPr>
          <p:cNvPr id="4" name="Slide Image Placeholder 3"/>
          <p:cNvSpPr>
            <a:spLocks noGrp="1" noRot="1" noChangeAspect="1"/>
          </p:cNvSpPr>
          <p:nvPr>
            <p:ph type="sldImg" idx="2"/>
          </p:nvPr>
        </p:nvSpPr>
        <p:spPr>
          <a:xfrm>
            <a:off x="109538" y="209550"/>
            <a:ext cx="9017000" cy="5072063"/>
          </a:xfrm>
          <a:prstGeom prst="rect">
            <a:avLst/>
          </a:prstGeom>
          <a:noFill/>
          <a:ln w="9525">
            <a:solidFill>
              <a:schemeClr val="bg2"/>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a:defRPr sz="800"/>
            </a:lvl1pPr>
          </a:lstStyle>
          <a:p>
            <a:endParaRPr lang="en-US" dirty="0"/>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190" userDrawn="1">
          <p15:clr>
            <a:srgbClr val="F26B43"/>
          </p15:clr>
        </p15:guide>
        <p15:guide id="2" pos="290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16023850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mtClean="0"/>
              <a:t>Notes view: </a:t>
            </a:r>
            <a:fld id="{128CEAFE-FA94-43E5-B0FF-D47E1CCDD1B4}" type="slidenum">
              <a:rPr lang="en-US" smtClean="0"/>
              <a:pPr/>
              <a:t>1</a:t>
            </a:fld>
            <a:endParaRPr lang="en-US"/>
          </a:p>
        </p:txBody>
      </p:sp>
    </p:spTree>
    <p:extLst>
      <p:ext uri="{BB962C8B-B14F-4D97-AF65-F5344CB8AC3E}">
        <p14:creationId xmlns:p14="http://schemas.microsoft.com/office/powerpoint/2010/main" val="39502100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36180005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4168936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smtClean="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24411501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5</a:t>
            </a:fld>
            <a:endParaRPr lang="en-US" dirty="0"/>
          </a:p>
        </p:txBody>
      </p:sp>
    </p:spTree>
    <p:extLst>
      <p:ext uri="{BB962C8B-B14F-4D97-AF65-F5344CB8AC3E}">
        <p14:creationId xmlns:p14="http://schemas.microsoft.com/office/powerpoint/2010/main" val="17564815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8089286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41816381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0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09.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10.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11.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1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1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15.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6.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8.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19.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0.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1.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2.xml"/><Relationship Id="rId1" Type="http://schemas.openxmlformats.org/officeDocument/2006/relationships/tags" Target="../tags/tag123.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4.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image" Target="../media/image2.png"/><Relationship Id="rId2" Type="http://schemas.openxmlformats.org/officeDocument/2006/relationships/tags" Target="../tags/tag129.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3.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4.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2.png"/><Relationship Id="rId2" Type="http://schemas.openxmlformats.org/officeDocument/2006/relationships/tags" Target="../tags/tag13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vmlDrawing" Target="../drawings/vmlDrawing2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8.xml"/><Relationship Id="rId1" Type="http://schemas.openxmlformats.org/officeDocument/2006/relationships/vmlDrawing" Target="../drawings/vmlDrawing25.vml"/><Relationship Id="rId5" Type="http://schemas.openxmlformats.org/officeDocument/2006/relationships/image" Target="../media/image12.emf"/><Relationship Id="rId4" Type="http://schemas.openxmlformats.org/officeDocument/2006/relationships/oleObject" Target="../embeddings/oleObject25.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jpg"/></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4.png"/><Relationship Id="rId2" Type="http://schemas.openxmlformats.org/officeDocument/2006/relationships/tags" Target="../tags/tag40.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2.png"/><Relationship Id="rId2" Type="http://schemas.openxmlformats.org/officeDocument/2006/relationships/tags" Target="../tags/tag63.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2.png"/><Relationship Id="rId2" Type="http://schemas.openxmlformats.org/officeDocument/2006/relationships/tags" Target="../tags/tag6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10.jpg"/></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4.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5.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7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78.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7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80.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8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8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8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8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8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8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87.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88.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89.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0.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2.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3.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2.xml"/><Relationship Id="rId1" Type="http://schemas.openxmlformats.org/officeDocument/2006/relationships/tags" Target="../tags/tag96.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7.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98.xml"/><Relationship Id="rId4" Type="http://schemas.openxmlformats.org/officeDocument/2006/relationships/image" Target="../media/image10.jpg"/></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9.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0.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736807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solidFill>
                <a:prstClr val="white">
                  <a:lumMod val="50000"/>
                </a:prstClr>
              </a:solidFill>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087613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solidFill>
                <a:prstClr val="white">
                  <a:lumMod val="50000"/>
                </a:prstClr>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084262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6675977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091289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567770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724099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539837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655836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pic>
        <p:nvPicPr>
          <p:cNvPr id="13" name="Picture 12"/>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707660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140594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pic>
        <p:nvPicPr>
          <p:cNvPr id="14" name="Picture 13"/>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2549831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91367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688224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solidFill>
                <a:srgbClr val="575757"/>
              </a:solidFill>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Tree>
    <p:extLst>
      <p:ext uri="{BB962C8B-B14F-4D97-AF65-F5344CB8AC3E}">
        <p14:creationId xmlns:p14="http://schemas.microsoft.com/office/powerpoint/2010/main" val="4063768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981449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585507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271988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solidFill>
                <a:prstClr val="white">
                  <a:lumMod val="50000"/>
                </a:prstClr>
              </a:solidFill>
            </a:endParaRP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601652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The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211882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Tree>
    <p:extLst>
      <p:ext uri="{BB962C8B-B14F-4D97-AF65-F5344CB8AC3E}">
        <p14:creationId xmlns:p14="http://schemas.microsoft.com/office/powerpoint/2010/main" val="4177937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a:t>
              </a:r>
              <a:r>
                <a:rPr lang="en-US" sz="1000" dirty="0" err="1">
                  <a:solidFill>
                    <a:prstClr val="white">
                      <a:lumMod val="50000"/>
                    </a:prstClr>
                  </a:solidFill>
                  <a:sym typeface="Trebuchet MS" panose="020B0603020202020204" pitchFamily="34" charset="0"/>
                </a:rPr>
                <a:t>xxxx</a:t>
              </a:r>
              <a:r>
                <a:rPr lang="en-US" sz="1000" dirty="0">
                  <a:solidFill>
                    <a:prstClr val="white">
                      <a:lumMod val="50000"/>
                    </a:prstClr>
                  </a:solidFill>
                  <a:sym typeface="Trebuchet MS" panose="020B0603020202020204" pitchFamily="34" charset="0"/>
                </a:rPr>
                <a:t>  2. </a:t>
              </a:r>
              <a:r>
                <a:rPr lang="en-US" sz="1000" dirty="0" err="1">
                  <a:solidFill>
                    <a:prstClr val="white">
                      <a:lumMod val="50000"/>
                    </a:prstClr>
                  </a:solidFill>
                  <a:sym typeface="Trebuchet MS" panose="020B0603020202020204" pitchFamily="34" charset="0"/>
                </a:rPr>
                <a:t>xxxx</a:t>
              </a:r>
              <a:r>
                <a:rPr lang="en-US" sz="1000" dirty="0">
                  <a:solidFill>
                    <a:prstClr val="white">
                      <a:lumMod val="50000"/>
                    </a:prstClr>
                  </a:solidFill>
                  <a:sym typeface="Trebuchet MS" panose="020B0603020202020204" pitchFamily="34" charset="0"/>
                </a:rPr>
                <a:t>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656394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prstClr val="white"/>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a:lnSpc>
                <a:spcPct val="95000"/>
              </a:lnSpc>
            </a:pPr>
            <a:r>
              <a:rPr lang="en-US" sz="5400" dirty="0">
                <a:solidFill>
                  <a:prstClr val="white"/>
                </a:solidFill>
              </a:rPr>
              <a:t>Agenda</a:t>
            </a:r>
          </a:p>
        </p:txBody>
      </p:sp>
    </p:spTree>
    <p:extLst>
      <p:ext uri="{BB962C8B-B14F-4D97-AF65-F5344CB8AC3E}">
        <p14:creationId xmlns:p14="http://schemas.microsoft.com/office/powerpoint/2010/main" val="3782011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a:solidFill>
                <a:prstClr val="white"/>
              </a:solidFill>
            </a:endParaRPr>
          </a:p>
        </p:txBody>
      </p:sp>
    </p:spTree>
    <p:extLst>
      <p:ext uri="{BB962C8B-B14F-4D97-AF65-F5344CB8AC3E}">
        <p14:creationId xmlns:p14="http://schemas.microsoft.com/office/powerpoint/2010/main" val="801922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prstClr val="white"/>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6794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30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prstClr val="white"/>
                </a:solidFill>
              </a:rPr>
              <a:t>Agenda</a:t>
            </a:r>
          </a:p>
        </p:txBody>
      </p:sp>
    </p:spTree>
    <p:extLst>
      <p:ext uri="{BB962C8B-B14F-4D97-AF65-F5344CB8AC3E}">
        <p14:creationId xmlns:p14="http://schemas.microsoft.com/office/powerpoint/2010/main" val="454886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32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rgbClr val="3EAD92"/>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3EAD92"/>
                </a:solidFill>
              </a:rPr>
              <a:t>Agenda</a:t>
            </a:r>
          </a:p>
        </p:txBody>
      </p:sp>
    </p:spTree>
    <p:extLst>
      <p:ext uri="{BB962C8B-B14F-4D97-AF65-F5344CB8AC3E}">
        <p14:creationId xmlns:p14="http://schemas.microsoft.com/office/powerpoint/2010/main" val="2560359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3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a:solidFill>
                <a:prstClr val="white"/>
              </a:solidFill>
            </a:endParaRPr>
          </a:p>
        </p:txBody>
      </p:sp>
    </p:spTree>
    <p:extLst>
      <p:ext uri="{BB962C8B-B14F-4D97-AF65-F5344CB8AC3E}">
        <p14:creationId xmlns:p14="http://schemas.microsoft.com/office/powerpoint/2010/main" val="2919010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3EAD92"/>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6706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4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prstClr val="white"/>
                </a:solidFill>
              </a:rPr>
              <a:t>Agenda</a:t>
            </a:r>
          </a:p>
        </p:txBody>
      </p:sp>
    </p:spTree>
    <p:extLst>
      <p:ext uri="{BB962C8B-B14F-4D97-AF65-F5344CB8AC3E}">
        <p14:creationId xmlns:p14="http://schemas.microsoft.com/office/powerpoint/2010/main" val="2055303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207"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4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629412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017" y="1589"/>
          <a:ext cx="2015" cy="1587"/>
        </p:xfrm>
        <a:graphic>
          <a:graphicData uri="http://schemas.openxmlformats.org/presentationml/2006/ole">
            <mc:AlternateContent xmlns:mc="http://schemas.openxmlformats.org/markup-compatibility/2006">
              <mc:Choice xmlns:v="urn:schemas-microsoft-com:vml" Requires="v">
                <p:oleObj spid="_x0000_s1004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017" y="1589"/>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
        <p:nvSpPr>
          <p:cNvPr id="4" name="Text Placeholder 3"/>
          <p:cNvSpPr>
            <a:spLocks noGrp="1"/>
          </p:cNvSpPr>
          <p:nvPr>
            <p:ph type="body" sz="quarter" idx="10"/>
          </p:nvPr>
        </p:nvSpPr>
        <p:spPr>
          <a:xfrm>
            <a:off x="580475" y="1508760"/>
            <a:ext cx="11029033" cy="4617720"/>
          </a:xfrm>
        </p:spPr>
        <p:txBody>
          <a:bodyPr/>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2288136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54"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31"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76"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8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01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3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8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1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8692752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105650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340051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560115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20180927 GAMMA WW - Intro to Classification in Python.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0071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41002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215956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047722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084305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891986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716093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520036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041271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879244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3"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811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96904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05006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pic>
        <p:nvPicPr>
          <p:cNvPr id="13" name="Picture 12"/>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481330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438762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6303777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5326522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634731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279951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841146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20180927 GAMMA WW - Intro to Classification in Python.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The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273077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Tree>
    <p:extLst>
      <p:ext uri="{BB962C8B-B14F-4D97-AF65-F5344CB8AC3E}">
        <p14:creationId xmlns:p14="http://schemas.microsoft.com/office/powerpoint/2010/main" val="1687885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a:t>
              </a:r>
              <a:r>
                <a:rPr lang="en-US" sz="1000" dirty="0" err="1">
                  <a:solidFill>
                    <a:prstClr val="white">
                      <a:lumMod val="50000"/>
                    </a:prstClr>
                  </a:solidFill>
                  <a:sym typeface="Trebuchet MS" panose="020B0603020202020204" pitchFamily="34" charset="0"/>
                </a:rPr>
                <a:t>xxxx</a:t>
              </a:r>
              <a:r>
                <a:rPr lang="en-US" sz="1000" dirty="0">
                  <a:solidFill>
                    <a:prstClr val="white">
                      <a:lumMod val="50000"/>
                    </a:prstClr>
                  </a:solidFill>
                  <a:sym typeface="Trebuchet MS" panose="020B0603020202020204" pitchFamily="34" charset="0"/>
                </a:rPr>
                <a:t>  2. </a:t>
              </a:r>
              <a:r>
                <a:rPr lang="en-US" sz="1000" dirty="0" err="1">
                  <a:solidFill>
                    <a:prstClr val="white">
                      <a:lumMod val="50000"/>
                    </a:prstClr>
                  </a:solidFill>
                  <a:sym typeface="Trebuchet MS" panose="020B0603020202020204" pitchFamily="34" charset="0"/>
                </a:rPr>
                <a:t>xxxx</a:t>
              </a:r>
              <a:r>
                <a:rPr lang="en-US" sz="1000" dirty="0">
                  <a:solidFill>
                    <a:prstClr val="white">
                      <a:lumMod val="50000"/>
                    </a:prstClr>
                  </a:solidFill>
                  <a:sym typeface="Trebuchet MS" panose="020B0603020202020204" pitchFamily="34" charset="0"/>
                </a:rPr>
                <a:t>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537735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420967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974525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727884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20180927 GAMMA WW - Intro to Classification in Pytho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616150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649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304775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20180927 GAMMA WW - Intro to Classification in Python.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930060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9" Type="http://schemas.openxmlformats.org/officeDocument/2006/relationships/slideLayout" Target="../slideLayouts/slideLayout104.xml"/><Relationship Id="rId21" Type="http://schemas.openxmlformats.org/officeDocument/2006/relationships/slideLayout" Target="../slideLayouts/slideLayout86.xml"/><Relationship Id="rId34" Type="http://schemas.openxmlformats.org/officeDocument/2006/relationships/slideLayout" Target="../slideLayouts/slideLayout99.xml"/><Relationship Id="rId42" Type="http://schemas.openxmlformats.org/officeDocument/2006/relationships/slideLayout" Target="../slideLayouts/slideLayout107.xml"/><Relationship Id="rId47" Type="http://schemas.openxmlformats.org/officeDocument/2006/relationships/slideLayout" Target="../slideLayouts/slideLayout112.xml"/><Relationship Id="rId50" Type="http://schemas.openxmlformats.org/officeDocument/2006/relationships/slideLayout" Target="../slideLayouts/slideLayout115.xml"/><Relationship Id="rId55" Type="http://schemas.openxmlformats.org/officeDocument/2006/relationships/slideLayout" Target="../slideLayouts/slideLayout120.xml"/><Relationship Id="rId63" Type="http://schemas.openxmlformats.org/officeDocument/2006/relationships/slideLayout" Target="../slideLayouts/slideLayout128.xml"/><Relationship Id="rId68" Type="http://schemas.openxmlformats.org/officeDocument/2006/relationships/vmlDrawing" Target="../drawings/vmlDrawing15.vml"/><Relationship Id="rId7" Type="http://schemas.openxmlformats.org/officeDocument/2006/relationships/slideLayout" Target="../slideLayouts/slideLayout72.xml"/><Relationship Id="rId71" Type="http://schemas.openxmlformats.org/officeDocument/2006/relationships/image" Target="../media/image1.emf"/><Relationship Id="rId2" Type="http://schemas.openxmlformats.org/officeDocument/2006/relationships/slideLayout" Target="../slideLayouts/slideLayout67.xml"/><Relationship Id="rId16" Type="http://schemas.openxmlformats.org/officeDocument/2006/relationships/slideLayout" Target="../slideLayouts/slideLayout81.xml"/><Relationship Id="rId29" Type="http://schemas.openxmlformats.org/officeDocument/2006/relationships/slideLayout" Target="../slideLayouts/slideLayout94.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slideLayout" Target="../slideLayouts/slideLayout102.xml"/><Relationship Id="rId40" Type="http://schemas.openxmlformats.org/officeDocument/2006/relationships/slideLayout" Target="../slideLayouts/slideLayout105.xml"/><Relationship Id="rId45" Type="http://schemas.openxmlformats.org/officeDocument/2006/relationships/slideLayout" Target="../slideLayouts/slideLayout110.xml"/><Relationship Id="rId53" Type="http://schemas.openxmlformats.org/officeDocument/2006/relationships/slideLayout" Target="../slideLayouts/slideLayout118.xml"/><Relationship Id="rId58" Type="http://schemas.openxmlformats.org/officeDocument/2006/relationships/slideLayout" Target="../slideLayouts/slideLayout123.xml"/><Relationship Id="rId66" Type="http://schemas.openxmlformats.org/officeDocument/2006/relationships/slideLayout" Target="../slideLayouts/slideLayout131.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slideLayout" Target="../slideLayouts/slideLayout101.xml"/><Relationship Id="rId49" Type="http://schemas.openxmlformats.org/officeDocument/2006/relationships/slideLayout" Target="../slideLayouts/slideLayout114.xml"/><Relationship Id="rId57" Type="http://schemas.openxmlformats.org/officeDocument/2006/relationships/slideLayout" Target="../slideLayouts/slideLayout122.xml"/><Relationship Id="rId61" Type="http://schemas.openxmlformats.org/officeDocument/2006/relationships/slideLayout" Target="../slideLayouts/slideLayout126.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4" Type="http://schemas.openxmlformats.org/officeDocument/2006/relationships/slideLayout" Target="../slideLayouts/slideLayout109.xml"/><Relationship Id="rId52" Type="http://schemas.openxmlformats.org/officeDocument/2006/relationships/slideLayout" Target="../slideLayouts/slideLayout117.xml"/><Relationship Id="rId60" Type="http://schemas.openxmlformats.org/officeDocument/2006/relationships/slideLayout" Target="../slideLayouts/slideLayout125.xml"/><Relationship Id="rId65" Type="http://schemas.openxmlformats.org/officeDocument/2006/relationships/slideLayout" Target="../slideLayouts/slideLayout130.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slideLayout" Target="../slideLayouts/slideLayout100.xml"/><Relationship Id="rId43" Type="http://schemas.openxmlformats.org/officeDocument/2006/relationships/slideLayout" Target="../slideLayouts/slideLayout108.xml"/><Relationship Id="rId48" Type="http://schemas.openxmlformats.org/officeDocument/2006/relationships/slideLayout" Target="../slideLayouts/slideLayout113.xml"/><Relationship Id="rId56" Type="http://schemas.openxmlformats.org/officeDocument/2006/relationships/slideLayout" Target="../slideLayouts/slideLayout121.xml"/><Relationship Id="rId64" Type="http://schemas.openxmlformats.org/officeDocument/2006/relationships/slideLayout" Target="../slideLayouts/slideLayout129.xml"/><Relationship Id="rId69" Type="http://schemas.openxmlformats.org/officeDocument/2006/relationships/tags" Target="../tags/tag72.xml"/><Relationship Id="rId8" Type="http://schemas.openxmlformats.org/officeDocument/2006/relationships/slideLayout" Target="../slideLayouts/slideLayout73.xml"/><Relationship Id="rId51" Type="http://schemas.openxmlformats.org/officeDocument/2006/relationships/slideLayout" Target="../slideLayouts/slideLayout116.xml"/><Relationship Id="rId3" Type="http://schemas.openxmlformats.org/officeDocument/2006/relationships/slideLayout" Target="../slideLayouts/slideLayout68.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38" Type="http://schemas.openxmlformats.org/officeDocument/2006/relationships/slideLayout" Target="../slideLayouts/slideLayout103.xml"/><Relationship Id="rId46" Type="http://schemas.openxmlformats.org/officeDocument/2006/relationships/slideLayout" Target="../slideLayouts/slideLayout111.xml"/><Relationship Id="rId59" Type="http://schemas.openxmlformats.org/officeDocument/2006/relationships/slideLayout" Target="../slideLayouts/slideLayout124.xml"/><Relationship Id="rId67" Type="http://schemas.openxmlformats.org/officeDocument/2006/relationships/theme" Target="../theme/theme2.xml"/><Relationship Id="rId20" Type="http://schemas.openxmlformats.org/officeDocument/2006/relationships/slideLayout" Target="../slideLayouts/slideLayout85.xml"/><Relationship Id="rId41" Type="http://schemas.openxmlformats.org/officeDocument/2006/relationships/slideLayout" Target="../slideLayouts/slideLayout106.xml"/><Relationship Id="rId54" Type="http://schemas.openxmlformats.org/officeDocument/2006/relationships/slideLayout" Target="../slideLayouts/slideLayout119.xml"/><Relationship Id="rId62" Type="http://schemas.openxmlformats.org/officeDocument/2006/relationships/slideLayout" Target="../slideLayouts/slideLayout127.xml"/><Relationship Id="rId70" Type="http://schemas.openxmlformats.org/officeDocument/2006/relationships/oleObject" Target="../embeddings/oleObject1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26" name="think-cell Slide" r:id="rId69" imgW="270" imgH="270" progId="TCLayout.ActiveDocument.1">
                  <p:embed/>
                </p:oleObj>
              </mc:Choice>
              <mc:Fallback>
                <p:oleObj name="think-cell Slide" r:id="rId69" imgW="270" imgH="270" progId="TCLayout.ActiveDocument.1">
                  <p:embed/>
                  <p:pic>
                    <p:nvPicPr>
                      <p:cNvPr id="0" name=""/>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58" r:id="rId3"/>
    <p:sldLayoutId id="2147485113" r:id="rId4"/>
    <p:sldLayoutId id="2147485114" r:id="rId5"/>
    <p:sldLayoutId id="2147485154" r:id="rId6"/>
    <p:sldLayoutId id="2147485162" r:id="rId7"/>
    <p:sldLayoutId id="2147485149" r:id="rId8"/>
    <p:sldLayoutId id="2147485087" r:id="rId9"/>
    <p:sldLayoutId id="2147485112" r:id="rId10"/>
    <p:sldLayoutId id="2147485155" r:id="rId11"/>
    <p:sldLayoutId id="2147485164" r:id="rId12"/>
    <p:sldLayoutId id="2147485109" r:id="rId13"/>
    <p:sldLayoutId id="2147485165" r:id="rId14"/>
    <p:sldLayoutId id="2147485110" r:id="rId15"/>
    <p:sldLayoutId id="2147485166" r:id="rId16"/>
    <p:sldLayoutId id="2147485156" r:id="rId17"/>
    <p:sldLayoutId id="2147485167" r:id="rId18"/>
    <p:sldLayoutId id="2147485108" r:id="rId19"/>
    <p:sldLayoutId id="2147485107" r:id="rId20"/>
    <p:sldLayoutId id="2147485106" r:id="rId21"/>
    <p:sldLayoutId id="2147485090" r:id="rId22"/>
    <p:sldLayoutId id="2147485091" r:id="rId23"/>
    <p:sldLayoutId id="2147485092" r:id="rId24"/>
    <p:sldLayoutId id="2147485093" r:id="rId25"/>
    <p:sldLayoutId id="2147485116" r:id="rId26"/>
    <p:sldLayoutId id="2147485161" r:id="rId27"/>
    <p:sldLayoutId id="2147485159" r:id="rId28"/>
    <p:sldLayoutId id="2147485119" r:id="rId29"/>
    <p:sldLayoutId id="2147485137" r:id="rId30"/>
    <p:sldLayoutId id="2147485120" r:id="rId31"/>
    <p:sldLayoutId id="2147485121" r:id="rId32"/>
    <p:sldLayoutId id="2147485141" r:id="rId33"/>
    <p:sldLayoutId id="2147485163" r:id="rId34"/>
    <p:sldLayoutId id="2147485139" r:id="rId35"/>
    <p:sldLayoutId id="2147485140" r:id="rId36"/>
    <p:sldLayoutId id="2147485122" r:id="rId37"/>
    <p:sldLayoutId id="2147485123" r:id="rId38"/>
    <p:sldLayoutId id="2147485151" r:id="rId39"/>
    <p:sldLayoutId id="2147485168" r:id="rId40"/>
    <p:sldLayoutId id="2147485127" r:id="rId41"/>
    <p:sldLayoutId id="2147485169" r:id="rId42"/>
    <p:sldLayoutId id="2147485126" r:id="rId43"/>
    <p:sldLayoutId id="2147485170" r:id="rId44"/>
    <p:sldLayoutId id="2147485153" r:id="rId45"/>
    <p:sldLayoutId id="2147485171" r:id="rId46"/>
    <p:sldLayoutId id="2147485128" r:id="rId47"/>
    <p:sldLayoutId id="2147485129" r:id="rId48"/>
    <p:sldLayoutId id="2147485130" r:id="rId49"/>
    <p:sldLayoutId id="2147485131" r:id="rId50"/>
    <p:sldLayoutId id="2147485145" r:id="rId51"/>
    <p:sldLayoutId id="2147485133" r:id="rId52"/>
    <p:sldLayoutId id="2147485144" r:id="rId53"/>
    <p:sldLayoutId id="2147485134" r:id="rId54"/>
    <p:sldLayoutId id="2147485146" r:id="rId55"/>
    <p:sldLayoutId id="2147485160" r:id="rId56"/>
    <p:sldLayoutId id="2147485172" r:id="rId57"/>
    <p:sldLayoutId id="2147485173" r:id="rId58"/>
    <p:sldLayoutId id="2147485174" r:id="rId59"/>
    <p:sldLayoutId id="2147485175" r:id="rId60"/>
    <p:sldLayoutId id="2147485176" r:id="rId61"/>
    <p:sldLayoutId id="2147485177" r:id="rId62"/>
    <p:sldLayoutId id="2147485178" r:id="rId63"/>
    <p:sldLayoutId id="2147485179" r:id="rId64"/>
    <p:sldLayoutId id="2147485180" r:id="rId6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8"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009205637"/>
      </p:ext>
    </p:extLst>
  </p:cSld>
  <p:clrMap bg1="lt1" tx1="dk1" bg2="lt2" tx2="dk2" accent1="accent1" accent2="accent2" accent3="accent3" accent4="accent4" accent5="accent5" accent6="accent6" hlink="hlink" folHlink="folHlink"/>
  <p:sldLayoutIdLst>
    <p:sldLayoutId id="2147485182" r:id="rId1"/>
    <p:sldLayoutId id="2147485183" r:id="rId2"/>
    <p:sldLayoutId id="2147485184" r:id="rId3"/>
    <p:sldLayoutId id="2147485185" r:id="rId4"/>
    <p:sldLayoutId id="2147485186" r:id="rId5"/>
    <p:sldLayoutId id="2147485187" r:id="rId6"/>
    <p:sldLayoutId id="2147485188" r:id="rId7"/>
    <p:sldLayoutId id="2147485189" r:id="rId8"/>
    <p:sldLayoutId id="2147485190" r:id="rId9"/>
    <p:sldLayoutId id="2147485191" r:id="rId10"/>
    <p:sldLayoutId id="2147485192" r:id="rId11"/>
    <p:sldLayoutId id="2147485193" r:id="rId12"/>
    <p:sldLayoutId id="2147485194" r:id="rId13"/>
    <p:sldLayoutId id="2147485195" r:id="rId14"/>
    <p:sldLayoutId id="2147485196" r:id="rId15"/>
    <p:sldLayoutId id="2147485197" r:id="rId16"/>
    <p:sldLayoutId id="2147485198" r:id="rId17"/>
    <p:sldLayoutId id="2147485199" r:id="rId18"/>
    <p:sldLayoutId id="2147485200" r:id="rId19"/>
    <p:sldLayoutId id="2147485201" r:id="rId20"/>
    <p:sldLayoutId id="2147485202" r:id="rId21"/>
    <p:sldLayoutId id="2147485203" r:id="rId22"/>
    <p:sldLayoutId id="2147485204" r:id="rId23"/>
    <p:sldLayoutId id="2147485205" r:id="rId24"/>
    <p:sldLayoutId id="2147485206" r:id="rId25"/>
    <p:sldLayoutId id="2147485207" r:id="rId26"/>
    <p:sldLayoutId id="2147485208" r:id="rId27"/>
    <p:sldLayoutId id="2147485209" r:id="rId28"/>
    <p:sldLayoutId id="2147485210" r:id="rId29"/>
    <p:sldLayoutId id="2147485211" r:id="rId30"/>
    <p:sldLayoutId id="2147485212" r:id="rId31"/>
    <p:sldLayoutId id="2147485213" r:id="rId32"/>
    <p:sldLayoutId id="2147485214" r:id="rId33"/>
    <p:sldLayoutId id="2147485215" r:id="rId34"/>
    <p:sldLayoutId id="2147485216" r:id="rId35"/>
    <p:sldLayoutId id="2147485217" r:id="rId36"/>
    <p:sldLayoutId id="2147485218" r:id="rId37"/>
    <p:sldLayoutId id="2147485219" r:id="rId38"/>
    <p:sldLayoutId id="2147485220" r:id="rId39"/>
    <p:sldLayoutId id="2147485221" r:id="rId40"/>
    <p:sldLayoutId id="2147485222" r:id="rId41"/>
    <p:sldLayoutId id="2147485223" r:id="rId42"/>
    <p:sldLayoutId id="2147485224" r:id="rId43"/>
    <p:sldLayoutId id="2147485225" r:id="rId44"/>
    <p:sldLayoutId id="2147485226" r:id="rId45"/>
    <p:sldLayoutId id="2147485227" r:id="rId46"/>
    <p:sldLayoutId id="2147485228" r:id="rId47"/>
    <p:sldLayoutId id="2147485229" r:id="rId48"/>
    <p:sldLayoutId id="2147485230" r:id="rId49"/>
    <p:sldLayoutId id="2147485231" r:id="rId50"/>
    <p:sldLayoutId id="2147485232" r:id="rId51"/>
    <p:sldLayoutId id="2147485233" r:id="rId52"/>
    <p:sldLayoutId id="2147485234" r:id="rId53"/>
    <p:sldLayoutId id="2147485235" r:id="rId54"/>
    <p:sldLayoutId id="2147485236" r:id="rId55"/>
    <p:sldLayoutId id="2147485237" r:id="rId56"/>
    <p:sldLayoutId id="2147485238" r:id="rId57"/>
    <p:sldLayoutId id="2147485239" r:id="rId58"/>
    <p:sldLayoutId id="2147485240" r:id="rId59"/>
    <p:sldLayoutId id="2147485241" r:id="rId60"/>
    <p:sldLayoutId id="2147485242" r:id="rId61"/>
    <p:sldLayoutId id="2147485243" r:id="rId62"/>
    <p:sldLayoutId id="2147485244" r:id="rId63"/>
    <p:sldLayoutId id="2147485245" r:id="rId64"/>
    <p:sldLayoutId id="2147485246" r:id="rId65"/>
    <p:sldLayoutId id="2147485247" r:id="rId6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4.emf"/><Relationship Id="rId2" Type="http://schemas.openxmlformats.org/officeDocument/2006/relationships/tags" Target="../tags/tag139.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3.xml"/><Relationship Id="rId4"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9.xml"/><Relationship Id="rId1" Type="http://schemas.openxmlformats.org/officeDocument/2006/relationships/tags" Target="../tags/tag14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notesSlide" Target="../notesSlides/notesSlide6.xml"/><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slideLayout" Target="../slideLayouts/slideLayout29.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tags" Target="../tags/tag152.xml"/><Relationship Id="rId5" Type="http://schemas.openxmlformats.org/officeDocument/2006/relationships/tags" Target="../tags/tag146.xml"/><Relationship Id="rId10" Type="http://schemas.openxmlformats.org/officeDocument/2006/relationships/tags" Target="../tags/tag151.xml"/><Relationship Id="rId4" Type="http://schemas.openxmlformats.org/officeDocument/2006/relationships/tags" Target="../tags/tag145.xml"/><Relationship Id="rId9" Type="http://schemas.openxmlformats.org/officeDocument/2006/relationships/tags" Target="../tags/tag15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de-DE" dirty="0" err="1" smtClean="0"/>
              <a:t>OCTOBER</a:t>
            </a:r>
            <a:r>
              <a:rPr lang="de-DE" dirty="0" smtClean="0"/>
              <a:t> 16</a:t>
            </a:r>
            <a:r>
              <a:rPr lang="de-DE" baseline="30000" dirty="0" smtClean="0"/>
              <a:t>th</a:t>
            </a:r>
            <a:r>
              <a:rPr lang="de-DE" dirty="0"/>
              <a:t>, </a:t>
            </a:r>
            <a:r>
              <a:rPr lang="de-DE" dirty="0" smtClean="0"/>
              <a:t>2018</a:t>
            </a:r>
            <a:endParaRPr lang="de-DE" dirty="0"/>
          </a:p>
        </p:txBody>
      </p:sp>
      <p:sp>
        <p:nvSpPr>
          <p:cNvPr id="3" name="Subtitle 2"/>
          <p:cNvSpPr>
            <a:spLocks noGrp="1"/>
          </p:cNvSpPr>
          <p:nvPr>
            <p:ph type="subTitle" idx="1"/>
          </p:nvPr>
        </p:nvSpPr>
        <p:spPr/>
        <p:txBody>
          <a:bodyPr/>
          <a:lstStyle/>
          <a:p>
            <a:r>
              <a:rPr lang="en-US" dirty="0" smtClean="0">
                <a:latin typeface="+mn-lt"/>
              </a:rPr>
              <a:t>Presented by : Pulkit Gupta</a:t>
            </a:r>
            <a:endParaRPr lang="en-US" dirty="0">
              <a:latin typeface="+mn-lt"/>
            </a:endParaRPr>
          </a:p>
        </p:txBody>
      </p:sp>
      <p:sp>
        <p:nvSpPr>
          <p:cNvPr id="2" name="Title 1"/>
          <p:cNvSpPr>
            <a:spLocks noGrp="1"/>
          </p:cNvSpPr>
          <p:nvPr>
            <p:ph type="ctrTitle"/>
          </p:nvPr>
        </p:nvSpPr>
        <p:spPr/>
        <p:txBody>
          <a:bodyPr/>
          <a:lstStyle/>
          <a:p>
            <a:r>
              <a:rPr lang="en-US" dirty="0" smtClean="0">
                <a:latin typeface="+mj-lt"/>
              </a:rPr>
              <a:t>Selecting best 'classification model' </a:t>
            </a:r>
            <a:endParaRPr lang="en-US" dirty="0">
              <a:latin typeface="+mj-lt"/>
            </a:endParaRPr>
          </a:p>
        </p:txBody>
      </p:sp>
      <p:pic>
        <p:nvPicPr>
          <p:cNvPr id="7" name="Picture 2" descr="Résultat de recherche d'images pour &quot;bcg gamma logo&quo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52785" y="5495706"/>
            <a:ext cx="2299638" cy="12338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4853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1695" y="1755309"/>
            <a:ext cx="3109774" cy="3207216"/>
          </a:xfrm>
        </p:spPr>
        <p:txBody>
          <a:bodyPr/>
          <a:lstStyle/>
          <a:p>
            <a:r>
              <a:rPr lang="en-US" sz="1600" dirty="0" smtClean="0"/>
              <a:t>- Compare different classification algorithms in python</a:t>
            </a:r>
            <a:br>
              <a:rPr lang="en-US" sz="1600" dirty="0" smtClean="0"/>
            </a:br>
            <a:r>
              <a:rPr lang="en-US" sz="1600" dirty="0"/>
              <a:t/>
            </a:r>
            <a:br>
              <a:rPr lang="en-US" sz="1600" dirty="0"/>
            </a:br>
            <a:r>
              <a:rPr lang="en-US" sz="1600" dirty="0"/>
              <a:t>- </a:t>
            </a:r>
            <a:r>
              <a:rPr lang="en-US" sz="1600" dirty="0" smtClean="0"/>
              <a:t>Chose the best algorithm and most suitable </a:t>
            </a:r>
            <a:r>
              <a:rPr lang="en-US" sz="1600" dirty="0" err="1" smtClean="0"/>
              <a:t>KPIs</a:t>
            </a:r>
            <a:r>
              <a:rPr lang="en-US" sz="1600" dirty="0" smtClean="0"/>
              <a:t/>
            </a:r>
            <a:br>
              <a:rPr lang="en-US" sz="1600" dirty="0" smtClean="0"/>
            </a:br>
            <a:r>
              <a:rPr lang="en-US" sz="1600" dirty="0"/>
              <a:t/>
            </a:r>
            <a:br>
              <a:rPr lang="en-US" sz="1600" dirty="0"/>
            </a:br>
            <a:r>
              <a:rPr lang="en-US" sz="1600" dirty="0"/>
              <a:t>- </a:t>
            </a:r>
            <a:r>
              <a:rPr lang="en-US" sz="1600" dirty="0" smtClean="0"/>
              <a:t>Tuning model parameters</a:t>
            </a:r>
            <a:br>
              <a:rPr lang="en-US" sz="1600" dirty="0" smtClean="0"/>
            </a:br>
            <a:r>
              <a:rPr lang="en-US" sz="1600" dirty="0"/>
              <a:t/>
            </a:r>
            <a:br>
              <a:rPr lang="en-US" sz="1600" dirty="0"/>
            </a:br>
            <a:r>
              <a:rPr lang="en-US" sz="1600" dirty="0" smtClean="0"/>
              <a:t>- Insights from Black-box models</a:t>
            </a:r>
            <a:endParaRPr lang="en-US" dirty="0">
              <a:solidFill>
                <a:srgbClr val="D4DF33"/>
              </a:solidFill>
            </a:endParaRPr>
          </a:p>
        </p:txBody>
      </p:sp>
      <p:sp>
        <p:nvSpPr>
          <p:cNvPr id="3" name="Title 1"/>
          <p:cNvSpPr txBox="1">
            <a:spLocks/>
          </p:cNvSpPr>
          <p:nvPr/>
        </p:nvSpPr>
        <p:spPr>
          <a:xfrm>
            <a:off x="4405447" y="701468"/>
            <a:ext cx="7631432" cy="856178"/>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3200" kern="1200" baseline="0">
                <a:solidFill>
                  <a:srgbClr val="FFFFFF"/>
                </a:solidFill>
                <a:latin typeface="+mj-lt"/>
                <a:ea typeface="+mj-ea"/>
                <a:cs typeface="+mj-cs"/>
                <a:sym typeface="Trebuchet MS" panose="020B0603020202020204" pitchFamily="34" charset="0"/>
              </a:defRPr>
            </a:lvl1pPr>
          </a:lstStyle>
          <a:p>
            <a:r>
              <a:rPr lang="en-US" dirty="0" smtClean="0">
                <a:solidFill>
                  <a:srgbClr val="29BA74"/>
                </a:solidFill>
              </a:rPr>
              <a:t>Topics we will be covering in Jupyter…</a:t>
            </a:r>
            <a:endParaRPr lang="en-US" dirty="0">
              <a:solidFill>
                <a:srgbClr val="29BA74"/>
              </a:solidFill>
            </a:endParaRPr>
          </a:p>
        </p:txBody>
      </p:sp>
      <p:grpSp>
        <p:nvGrpSpPr>
          <p:cNvPr id="17" name="Group 16"/>
          <p:cNvGrpSpPr>
            <a:grpSpLocks noChangeAspect="1"/>
          </p:cNvGrpSpPr>
          <p:nvPr/>
        </p:nvGrpSpPr>
        <p:grpSpPr>
          <a:xfrm>
            <a:off x="4228745" y="2193530"/>
            <a:ext cx="1035018" cy="1187845"/>
            <a:chOff x="6464300" y="2606675"/>
            <a:chExt cx="1646238" cy="1644650"/>
          </a:xfrm>
        </p:grpSpPr>
        <p:sp>
          <p:nvSpPr>
            <p:cNvPr id="18" name="AutoShape 15"/>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19" name="Group 18"/>
            <p:cNvGrpSpPr/>
            <p:nvPr/>
          </p:nvGrpSpPr>
          <p:grpSpPr>
            <a:xfrm>
              <a:off x="6635750" y="2963862"/>
              <a:ext cx="1367015" cy="1238250"/>
              <a:chOff x="6635750" y="2963862"/>
              <a:chExt cx="1367015" cy="1238250"/>
            </a:xfrm>
          </p:grpSpPr>
          <p:sp>
            <p:nvSpPr>
              <p:cNvPr id="20" name="Freeform 19"/>
              <p:cNvSpPr>
                <a:spLocks/>
              </p:cNvSpPr>
              <p:nvPr/>
            </p:nvSpPr>
            <p:spPr bwMode="auto">
              <a:xfrm>
                <a:off x="6635750" y="2963862"/>
                <a:ext cx="1367015" cy="1238250"/>
              </a:xfrm>
              <a:custGeom>
                <a:avLst/>
                <a:gdLst>
                  <a:gd name="connsiteX0" fmla="*/ 1124567 w 1367015"/>
                  <a:gd name="connsiteY0" fmla="*/ 922337 h 1238250"/>
                  <a:gd name="connsiteX1" fmla="*/ 1113855 w 1367015"/>
                  <a:gd name="connsiteY1" fmla="*/ 931647 h 1238250"/>
                  <a:gd name="connsiteX2" fmla="*/ 1058863 w 1367015"/>
                  <a:gd name="connsiteY2" fmla="*/ 985360 h 1238250"/>
                  <a:gd name="connsiteX3" fmla="*/ 1269544 w 1367015"/>
                  <a:gd name="connsiteY3" fmla="*/ 1205939 h 1238250"/>
                  <a:gd name="connsiteX4" fmla="*/ 1282399 w 1367015"/>
                  <a:gd name="connsiteY4" fmla="*/ 1205939 h 1238250"/>
                  <a:gd name="connsiteX5" fmla="*/ 1313109 w 1367015"/>
                  <a:gd name="connsiteY5" fmla="*/ 1185886 h 1238250"/>
                  <a:gd name="connsiteX6" fmla="*/ 1333820 w 1367015"/>
                  <a:gd name="connsiteY6" fmla="*/ 1155807 h 1238250"/>
                  <a:gd name="connsiteX7" fmla="*/ 1335248 w 1367015"/>
                  <a:gd name="connsiteY7" fmla="*/ 1142916 h 1238250"/>
                  <a:gd name="connsiteX8" fmla="*/ 1133851 w 1367015"/>
                  <a:gd name="connsiteY8" fmla="*/ 931647 h 1238250"/>
                  <a:gd name="connsiteX9" fmla="*/ 1124567 w 1367015"/>
                  <a:gd name="connsiteY9" fmla="*/ 922337 h 1238250"/>
                  <a:gd name="connsiteX10" fmla="*/ 925229 w 1367015"/>
                  <a:gd name="connsiteY10" fmla="*/ 906462 h 1238250"/>
                  <a:gd name="connsiteX11" fmla="*/ 949325 w 1367015"/>
                  <a:gd name="connsiteY11" fmla="*/ 931862 h 1238250"/>
                  <a:gd name="connsiteX12" fmla="*/ 869950 w 1367015"/>
                  <a:gd name="connsiteY12" fmla="*/ 931862 h 1238250"/>
                  <a:gd name="connsiteX13" fmla="*/ 925229 w 1367015"/>
                  <a:gd name="connsiteY13" fmla="*/ 906462 h 1238250"/>
                  <a:gd name="connsiteX14" fmla="*/ 1124927 w 1367015"/>
                  <a:gd name="connsiteY14" fmla="*/ 884237 h 1238250"/>
                  <a:gd name="connsiteX15" fmla="*/ 1135645 w 1367015"/>
                  <a:gd name="connsiteY15" fmla="*/ 889243 h 1238250"/>
                  <a:gd name="connsiteX16" fmla="*/ 1146363 w 1367015"/>
                  <a:gd name="connsiteY16" fmla="*/ 900686 h 1238250"/>
                  <a:gd name="connsiteX17" fmla="*/ 1176374 w 1367015"/>
                  <a:gd name="connsiteY17" fmla="*/ 932154 h 1238250"/>
                  <a:gd name="connsiteX18" fmla="*/ 1357152 w 1367015"/>
                  <a:gd name="connsiteY18" fmla="*/ 1121676 h 1238250"/>
                  <a:gd name="connsiteX19" fmla="*/ 1363582 w 1367015"/>
                  <a:gd name="connsiteY19" fmla="*/ 1166017 h 1238250"/>
                  <a:gd name="connsiteX20" fmla="*/ 1335001 w 1367015"/>
                  <a:gd name="connsiteY20" fmla="*/ 1208928 h 1238250"/>
                  <a:gd name="connsiteX21" fmla="*/ 1290700 w 1367015"/>
                  <a:gd name="connsiteY21" fmla="*/ 1236105 h 1238250"/>
                  <a:gd name="connsiteX22" fmla="*/ 1273551 w 1367015"/>
                  <a:gd name="connsiteY22" fmla="*/ 1238250 h 1238250"/>
                  <a:gd name="connsiteX23" fmla="*/ 1246398 w 1367015"/>
                  <a:gd name="connsiteY23" fmla="*/ 1227522 h 1238250"/>
                  <a:gd name="connsiteX24" fmla="*/ 1024892 w 1367015"/>
                  <a:gd name="connsiteY24" fmla="*/ 996520 h 1238250"/>
                  <a:gd name="connsiteX25" fmla="*/ 1025606 w 1367015"/>
                  <a:gd name="connsiteY25" fmla="*/ 974350 h 1238250"/>
                  <a:gd name="connsiteX26" fmla="*/ 1068478 w 1367015"/>
                  <a:gd name="connsiteY26" fmla="*/ 932154 h 1238250"/>
                  <a:gd name="connsiteX27" fmla="*/ 1076338 w 1367015"/>
                  <a:gd name="connsiteY27" fmla="*/ 925002 h 1238250"/>
                  <a:gd name="connsiteX28" fmla="*/ 1100633 w 1367015"/>
                  <a:gd name="connsiteY28" fmla="*/ 900686 h 1238250"/>
                  <a:gd name="connsiteX29" fmla="*/ 1104205 w 1367015"/>
                  <a:gd name="connsiteY29" fmla="*/ 897826 h 1238250"/>
                  <a:gd name="connsiteX30" fmla="*/ 1113494 w 1367015"/>
                  <a:gd name="connsiteY30" fmla="*/ 889243 h 1238250"/>
                  <a:gd name="connsiteX31" fmla="*/ 1124927 w 1367015"/>
                  <a:gd name="connsiteY31" fmla="*/ 884237 h 1238250"/>
                  <a:gd name="connsiteX32" fmla="*/ 346518 w 1367015"/>
                  <a:gd name="connsiteY32" fmla="*/ 565150 h 1238250"/>
                  <a:gd name="connsiteX33" fmla="*/ 306388 w 1367015"/>
                  <a:gd name="connsiteY33" fmla="*/ 606784 h 1238250"/>
                  <a:gd name="connsiteX34" fmla="*/ 306388 w 1367015"/>
                  <a:gd name="connsiteY34" fmla="*/ 608938 h 1238250"/>
                  <a:gd name="connsiteX35" fmla="*/ 319765 w 1367015"/>
                  <a:gd name="connsiteY35" fmla="*/ 636933 h 1238250"/>
                  <a:gd name="connsiteX36" fmla="*/ 346518 w 1367015"/>
                  <a:gd name="connsiteY36" fmla="*/ 647700 h 1238250"/>
                  <a:gd name="connsiteX37" fmla="*/ 387351 w 1367015"/>
                  <a:gd name="connsiteY37" fmla="*/ 606784 h 1238250"/>
                  <a:gd name="connsiteX38" fmla="*/ 383127 w 1367015"/>
                  <a:gd name="connsiteY38" fmla="*/ 588838 h 1238250"/>
                  <a:gd name="connsiteX39" fmla="*/ 360598 w 1367015"/>
                  <a:gd name="connsiteY39" fmla="*/ 568021 h 1238250"/>
                  <a:gd name="connsiteX40" fmla="*/ 346518 w 1367015"/>
                  <a:gd name="connsiteY40" fmla="*/ 565150 h 1238250"/>
                  <a:gd name="connsiteX41" fmla="*/ 760846 w 1367015"/>
                  <a:gd name="connsiteY41" fmla="*/ 492125 h 1238250"/>
                  <a:gd name="connsiteX42" fmla="*/ 735591 w 1367015"/>
                  <a:gd name="connsiteY42" fmla="*/ 499181 h 1238250"/>
                  <a:gd name="connsiteX43" fmla="*/ 710335 w 1367015"/>
                  <a:gd name="connsiteY43" fmla="*/ 535164 h 1238250"/>
                  <a:gd name="connsiteX44" fmla="*/ 709613 w 1367015"/>
                  <a:gd name="connsiteY44" fmla="*/ 542925 h 1238250"/>
                  <a:gd name="connsiteX45" fmla="*/ 760846 w 1367015"/>
                  <a:gd name="connsiteY45" fmla="*/ 593725 h 1238250"/>
                  <a:gd name="connsiteX46" fmla="*/ 767341 w 1367015"/>
                  <a:gd name="connsiteY46" fmla="*/ 593725 h 1238250"/>
                  <a:gd name="connsiteX47" fmla="*/ 804864 w 1367015"/>
                  <a:gd name="connsiteY47" fmla="*/ 570442 h 1238250"/>
                  <a:gd name="connsiteX48" fmla="*/ 812801 w 1367015"/>
                  <a:gd name="connsiteY48" fmla="*/ 542925 h 1238250"/>
                  <a:gd name="connsiteX49" fmla="*/ 812801 w 1367015"/>
                  <a:gd name="connsiteY49" fmla="*/ 539397 h 1238250"/>
                  <a:gd name="connsiteX50" fmla="*/ 768062 w 1367015"/>
                  <a:gd name="connsiteY50" fmla="*/ 492831 h 1238250"/>
                  <a:gd name="connsiteX51" fmla="*/ 760846 w 1367015"/>
                  <a:gd name="connsiteY51" fmla="*/ 492125 h 1238250"/>
                  <a:gd name="connsiteX52" fmla="*/ 891455 w 1367015"/>
                  <a:gd name="connsiteY52" fmla="*/ 415925 h 1238250"/>
                  <a:gd name="connsiteX53" fmla="*/ 915035 w 1367015"/>
                  <a:gd name="connsiteY53" fmla="*/ 434485 h 1238250"/>
                  <a:gd name="connsiteX54" fmla="*/ 920751 w 1367015"/>
                  <a:gd name="connsiteY54" fmla="*/ 439482 h 1238250"/>
                  <a:gd name="connsiteX55" fmla="*/ 877164 w 1367015"/>
                  <a:gd name="connsiteY55" fmla="*/ 474460 h 1238250"/>
                  <a:gd name="connsiteX56" fmla="*/ 850012 w 1367015"/>
                  <a:gd name="connsiteY56" fmla="*/ 496589 h 1238250"/>
                  <a:gd name="connsiteX57" fmla="*/ 838579 w 1367015"/>
                  <a:gd name="connsiteY57" fmla="*/ 505155 h 1238250"/>
                  <a:gd name="connsiteX58" fmla="*/ 844296 w 1367015"/>
                  <a:gd name="connsiteY58" fmla="*/ 519432 h 1238250"/>
                  <a:gd name="connsiteX59" fmla="*/ 847154 w 1367015"/>
                  <a:gd name="connsiteY59" fmla="*/ 542989 h 1238250"/>
                  <a:gd name="connsiteX60" fmla="*/ 845725 w 1367015"/>
                  <a:gd name="connsiteY60" fmla="*/ 561549 h 1238250"/>
                  <a:gd name="connsiteX61" fmla="*/ 824289 w 1367015"/>
                  <a:gd name="connsiteY61" fmla="*/ 601524 h 1238250"/>
                  <a:gd name="connsiteX62" fmla="*/ 761409 w 1367015"/>
                  <a:gd name="connsiteY62" fmla="*/ 628650 h 1238250"/>
                  <a:gd name="connsiteX63" fmla="*/ 676379 w 1367015"/>
                  <a:gd name="connsiteY63" fmla="*/ 542989 h 1238250"/>
                  <a:gd name="connsiteX64" fmla="*/ 678523 w 1367015"/>
                  <a:gd name="connsiteY64" fmla="*/ 523715 h 1238250"/>
                  <a:gd name="connsiteX65" fmla="*/ 582775 w 1367015"/>
                  <a:gd name="connsiteY65" fmla="*/ 477316 h 1238250"/>
                  <a:gd name="connsiteX66" fmla="*/ 569913 w 1367015"/>
                  <a:gd name="connsiteY66" fmla="*/ 470891 h 1238250"/>
                  <a:gd name="connsiteX67" fmla="*/ 594208 w 1367015"/>
                  <a:gd name="connsiteY67" fmla="*/ 441623 h 1238250"/>
                  <a:gd name="connsiteX68" fmla="*/ 694957 w 1367015"/>
                  <a:gd name="connsiteY68" fmla="*/ 490165 h 1238250"/>
                  <a:gd name="connsiteX69" fmla="*/ 715679 w 1367015"/>
                  <a:gd name="connsiteY69" fmla="*/ 470891 h 1238250"/>
                  <a:gd name="connsiteX70" fmla="*/ 761409 w 1367015"/>
                  <a:gd name="connsiteY70" fmla="*/ 457328 h 1238250"/>
                  <a:gd name="connsiteX71" fmla="*/ 789991 w 1367015"/>
                  <a:gd name="connsiteY71" fmla="*/ 462325 h 1238250"/>
                  <a:gd name="connsiteX72" fmla="*/ 815714 w 1367015"/>
                  <a:gd name="connsiteY72" fmla="*/ 476602 h 1238250"/>
                  <a:gd name="connsiteX73" fmla="*/ 831434 w 1367015"/>
                  <a:gd name="connsiteY73" fmla="*/ 464466 h 1238250"/>
                  <a:gd name="connsiteX74" fmla="*/ 891455 w 1367015"/>
                  <a:gd name="connsiteY74" fmla="*/ 415925 h 1238250"/>
                  <a:gd name="connsiteX75" fmla="*/ 772661 w 1367015"/>
                  <a:gd name="connsiteY75" fmla="*/ 346605 h 1238250"/>
                  <a:gd name="connsiteX76" fmla="*/ 628158 w 1367015"/>
                  <a:gd name="connsiteY76" fmla="*/ 379415 h 1238250"/>
                  <a:gd name="connsiteX77" fmla="*/ 571784 w 1367015"/>
                  <a:gd name="connsiteY77" fmla="*/ 420783 h 1238250"/>
                  <a:gd name="connsiteX78" fmla="*/ 546809 w 1367015"/>
                  <a:gd name="connsiteY78" fmla="*/ 449314 h 1238250"/>
                  <a:gd name="connsiteX79" fmla="*/ 524687 w 1367015"/>
                  <a:gd name="connsiteY79" fmla="*/ 482123 h 1238250"/>
                  <a:gd name="connsiteX80" fmla="*/ 564648 w 1367015"/>
                  <a:gd name="connsiteY80" fmla="*/ 800235 h 1238250"/>
                  <a:gd name="connsiteX81" fmla="*/ 678110 w 1367015"/>
                  <a:gd name="connsiteY81" fmla="*/ 869420 h 1238250"/>
                  <a:gd name="connsiteX82" fmla="*/ 837955 w 1367015"/>
                  <a:gd name="connsiteY82" fmla="*/ 869420 h 1238250"/>
                  <a:gd name="connsiteX83" fmla="*/ 921445 w 1367015"/>
                  <a:gd name="connsiteY83" fmla="*/ 826625 h 1238250"/>
                  <a:gd name="connsiteX84" fmla="*/ 944280 w 1367015"/>
                  <a:gd name="connsiteY84" fmla="*/ 807367 h 1238250"/>
                  <a:gd name="connsiteX85" fmla="*/ 967115 w 1367015"/>
                  <a:gd name="connsiteY85" fmla="*/ 783117 h 1238250"/>
                  <a:gd name="connsiteX86" fmla="*/ 959979 w 1367015"/>
                  <a:gd name="connsiteY86" fmla="*/ 437902 h 1238250"/>
                  <a:gd name="connsiteX87" fmla="*/ 951416 w 1367015"/>
                  <a:gd name="connsiteY87" fmla="*/ 427916 h 1238250"/>
                  <a:gd name="connsiteX88" fmla="*/ 937858 w 1367015"/>
                  <a:gd name="connsiteY88" fmla="*/ 415791 h 1238250"/>
                  <a:gd name="connsiteX89" fmla="*/ 912882 w 1367015"/>
                  <a:gd name="connsiteY89" fmla="*/ 395106 h 1238250"/>
                  <a:gd name="connsiteX90" fmla="*/ 772661 w 1367015"/>
                  <a:gd name="connsiteY90" fmla="*/ 346605 h 1238250"/>
                  <a:gd name="connsiteX91" fmla="*/ 785477 w 1367015"/>
                  <a:gd name="connsiteY91" fmla="*/ 308032 h 1238250"/>
                  <a:gd name="connsiteX92" fmla="*/ 945296 w 1367015"/>
                  <a:gd name="connsiteY92" fmla="*/ 370115 h 1238250"/>
                  <a:gd name="connsiteX93" fmla="*/ 969609 w 1367015"/>
                  <a:gd name="connsiteY93" fmla="*/ 390809 h 1238250"/>
                  <a:gd name="connsiteX94" fmla="*/ 980335 w 1367015"/>
                  <a:gd name="connsiteY94" fmla="*/ 400799 h 1238250"/>
                  <a:gd name="connsiteX95" fmla="*/ 991061 w 1367015"/>
                  <a:gd name="connsiteY95" fmla="*/ 413644 h 1238250"/>
                  <a:gd name="connsiteX96" fmla="*/ 1008223 w 1367015"/>
                  <a:gd name="connsiteY96" fmla="*/ 791852 h 1238250"/>
                  <a:gd name="connsiteX97" fmla="*/ 1080445 w 1367015"/>
                  <a:gd name="connsiteY97" fmla="*/ 866780 h 1238250"/>
                  <a:gd name="connsiteX98" fmla="*/ 1081875 w 1367015"/>
                  <a:gd name="connsiteY98" fmla="*/ 868921 h 1238250"/>
                  <a:gd name="connsiteX99" fmla="*/ 1081875 w 1367015"/>
                  <a:gd name="connsiteY99" fmla="*/ 876770 h 1238250"/>
                  <a:gd name="connsiteX100" fmla="*/ 1056848 w 1367015"/>
                  <a:gd name="connsiteY100" fmla="*/ 900319 h 1238250"/>
                  <a:gd name="connsiteX101" fmla="*/ 1055418 w 1367015"/>
                  <a:gd name="connsiteY101" fmla="*/ 901746 h 1238250"/>
                  <a:gd name="connsiteX102" fmla="*/ 1023954 w 1367015"/>
                  <a:gd name="connsiteY102" fmla="*/ 931717 h 1238250"/>
                  <a:gd name="connsiteX103" fmla="*/ 1014658 w 1367015"/>
                  <a:gd name="connsiteY103" fmla="*/ 940994 h 1238250"/>
                  <a:gd name="connsiteX104" fmla="*/ 1003217 w 1367015"/>
                  <a:gd name="connsiteY104" fmla="*/ 940994 h 1238250"/>
                  <a:gd name="connsiteX105" fmla="*/ 993921 w 1367015"/>
                  <a:gd name="connsiteY105" fmla="*/ 931717 h 1238250"/>
                  <a:gd name="connsiteX106" fmla="*/ 963888 w 1367015"/>
                  <a:gd name="connsiteY106" fmla="*/ 900319 h 1238250"/>
                  <a:gd name="connsiteX107" fmla="*/ 933140 w 1367015"/>
                  <a:gd name="connsiteY107" fmla="*/ 868921 h 1238250"/>
                  <a:gd name="connsiteX108" fmla="*/ 930995 w 1367015"/>
                  <a:gd name="connsiteY108" fmla="*/ 866780 h 1238250"/>
                  <a:gd name="connsiteX109" fmla="*/ 926704 w 1367015"/>
                  <a:gd name="connsiteY109" fmla="*/ 868921 h 1238250"/>
                  <a:gd name="connsiteX110" fmla="*/ 864493 w 1367015"/>
                  <a:gd name="connsiteY110" fmla="*/ 900319 h 1238250"/>
                  <a:gd name="connsiteX111" fmla="*/ 651400 w 1367015"/>
                  <a:gd name="connsiteY111" fmla="*/ 900319 h 1238250"/>
                  <a:gd name="connsiteX112" fmla="*/ 589189 w 1367015"/>
                  <a:gd name="connsiteY112" fmla="*/ 868921 h 1238250"/>
                  <a:gd name="connsiteX113" fmla="*/ 536988 w 1367015"/>
                  <a:gd name="connsiteY113" fmla="*/ 826105 h 1238250"/>
                  <a:gd name="connsiteX114" fmla="*/ 457615 w 1367015"/>
                  <a:gd name="connsiteY114" fmla="*/ 554937 h 1238250"/>
                  <a:gd name="connsiteX115" fmla="*/ 481213 w 1367015"/>
                  <a:gd name="connsiteY115" fmla="*/ 482863 h 1238250"/>
                  <a:gd name="connsiteX116" fmla="*/ 530553 w 1367015"/>
                  <a:gd name="connsiteY116" fmla="*/ 408649 h 1238250"/>
                  <a:gd name="connsiteX117" fmla="*/ 545569 w 1367015"/>
                  <a:gd name="connsiteY117" fmla="*/ 392236 h 1238250"/>
                  <a:gd name="connsiteX118" fmla="*/ 592049 w 1367015"/>
                  <a:gd name="connsiteY118" fmla="*/ 355843 h 1238250"/>
                  <a:gd name="connsiteX119" fmla="*/ 619222 w 1367015"/>
                  <a:gd name="connsiteY119" fmla="*/ 340143 h 1238250"/>
                  <a:gd name="connsiteX120" fmla="*/ 785477 w 1367015"/>
                  <a:gd name="connsiteY120" fmla="*/ 308032 h 1238250"/>
                  <a:gd name="connsiteX121" fmla="*/ 555676 w 1367015"/>
                  <a:gd name="connsiteY121" fmla="*/ 304800 h 1238250"/>
                  <a:gd name="connsiteX122" fmla="*/ 595313 w 1367015"/>
                  <a:gd name="connsiteY122" fmla="*/ 316982 h 1238250"/>
                  <a:gd name="connsiteX123" fmla="*/ 563462 w 1367015"/>
                  <a:gd name="connsiteY123" fmla="*/ 337046 h 1238250"/>
                  <a:gd name="connsiteX124" fmla="*/ 555676 w 1367015"/>
                  <a:gd name="connsiteY124" fmla="*/ 336330 h 1238250"/>
                  <a:gd name="connsiteX125" fmla="*/ 515331 w 1367015"/>
                  <a:gd name="connsiteY125" fmla="*/ 377175 h 1238250"/>
                  <a:gd name="connsiteX126" fmla="*/ 515331 w 1367015"/>
                  <a:gd name="connsiteY126" fmla="*/ 379325 h 1238250"/>
                  <a:gd name="connsiteX127" fmla="*/ 490558 w 1367015"/>
                  <a:gd name="connsiteY127" fmla="*/ 407988 h 1238250"/>
                  <a:gd name="connsiteX128" fmla="*/ 484188 w 1367015"/>
                  <a:gd name="connsiteY128" fmla="*/ 377175 h 1238250"/>
                  <a:gd name="connsiteX129" fmla="*/ 555676 w 1367015"/>
                  <a:gd name="connsiteY129" fmla="*/ 304800 h 1238250"/>
                  <a:gd name="connsiteX130" fmla="*/ 1089384 w 1367015"/>
                  <a:gd name="connsiteY130" fmla="*/ 233362 h 1238250"/>
                  <a:gd name="connsiteX131" fmla="*/ 1047750 w 1367015"/>
                  <a:gd name="connsiteY131" fmla="*/ 274996 h 1238250"/>
                  <a:gd name="connsiteX132" fmla="*/ 1049186 w 1367015"/>
                  <a:gd name="connsiteY132" fmla="*/ 286481 h 1238250"/>
                  <a:gd name="connsiteX133" fmla="*/ 1069285 w 1367015"/>
                  <a:gd name="connsiteY133" fmla="*/ 310887 h 1238250"/>
                  <a:gd name="connsiteX134" fmla="*/ 1089384 w 1367015"/>
                  <a:gd name="connsiteY134" fmla="*/ 315912 h 1238250"/>
                  <a:gd name="connsiteX135" fmla="*/ 1130300 w 1367015"/>
                  <a:gd name="connsiteY135" fmla="*/ 274996 h 1238250"/>
                  <a:gd name="connsiteX136" fmla="*/ 1128865 w 1367015"/>
                  <a:gd name="connsiteY136" fmla="*/ 264229 h 1238250"/>
                  <a:gd name="connsiteX137" fmla="*/ 1109483 w 1367015"/>
                  <a:gd name="connsiteY137" fmla="*/ 239105 h 1238250"/>
                  <a:gd name="connsiteX138" fmla="*/ 1089384 w 1367015"/>
                  <a:gd name="connsiteY138" fmla="*/ 233362 h 1238250"/>
                  <a:gd name="connsiteX139" fmla="*/ 15705 w 1367015"/>
                  <a:gd name="connsiteY139" fmla="*/ 0 h 1238250"/>
                  <a:gd name="connsiteX140" fmla="*/ 1289220 w 1367015"/>
                  <a:gd name="connsiteY140" fmla="*/ 0 h 1238250"/>
                  <a:gd name="connsiteX141" fmla="*/ 1304925 w 1367015"/>
                  <a:gd name="connsiteY141" fmla="*/ 15698 h 1238250"/>
                  <a:gd name="connsiteX142" fmla="*/ 1304925 w 1367015"/>
                  <a:gd name="connsiteY142" fmla="*/ 916166 h 1238250"/>
                  <a:gd name="connsiteX143" fmla="*/ 1289220 w 1367015"/>
                  <a:gd name="connsiteY143" fmla="*/ 931863 h 1238250"/>
                  <a:gd name="connsiteX144" fmla="*/ 1219977 w 1367015"/>
                  <a:gd name="connsiteY144" fmla="*/ 931863 h 1238250"/>
                  <a:gd name="connsiteX145" fmla="*/ 1189995 w 1367015"/>
                  <a:gd name="connsiteY145" fmla="*/ 900468 h 1238250"/>
                  <a:gd name="connsiteX146" fmla="*/ 1273516 w 1367015"/>
                  <a:gd name="connsiteY146" fmla="*/ 900468 h 1238250"/>
                  <a:gd name="connsiteX147" fmla="*/ 1273516 w 1367015"/>
                  <a:gd name="connsiteY147" fmla="*/ 151267 h 1238250"/>
                  <a:gd name="connsiteX148" fmla="*/ 1242106 w 1367015"/>
                  <a:gd name="connsiteY148" fmla="*/ 175527 h 1238250"/>
                  <a:gd name="connsiteX149" fmla="*/ 1154302 w 1367015"/>
                  <a:gd name="connsiteY149" fmla="*/ 243312 h 1238250"/>
                  <a:gd name="connsiteX150" fmla="*/ 1161441 w 1367015"/>
                  <a:gd name="connsiteY150" fmla="*/ 274707 h 1238250"/>
                  <a:gd name="connsiteX151" fmla="*/ 1089341 w 1367015"/>
                  <a:gd name="connsiteY151" fmla="*/ 346773 h 1238250"/>
                  <a:gd name="connsiteX152" fmla="*/ 1043655 w 1367015"/>
                  <a:gd name="connsiteY152" fmla="*/ 331076 h 1238250"/>
                  <a:gd name="connsiteX153" fmla="*/ 993685 w 1367015"/>
                  <a:gd name="connsiteY153" fmla="*/ 371033 h 1238250"/>
                  <a:gd name="connsiteX154" fmla="*/ 969414 w 1367015"/>
                  <a:gd name="connsiteY154" fmla="*/ 349627 h 1238250"/>
                  <a:gd name="connsiteX155" fmla="*/ 1024381 w 1367015"/>
                  <a:gd name="connsiteY155" fmla="*/ 306102 h 1238250"/>
                  <a:gd name="connsiteX156" fmla="*/ 1016528 w 1367015"/>
                  <a:gd name="connsiteY156" fmla="*/ 274707 h 1238250"/>
                  <a:gd name="connsiteX157" fmla="*/ 1089341 w 1367015"/>
                  <a:gd name="connsiteY157" fmla="*/ 201928 h 1238250"/>
                  <a:gd name="connsiteX158" fmla="*/ 1135028 w 1367015"/>
                  <a:gd name="connsiteY158" fmla="*/ 219052 h 1238250"/>
                  <a:gd name="connsiteX159" fmla="*/ 1242106 w 1367015"/>
                  <a:gd name="connsiteY159" fmla="*/ 136283 h 1238250"/>
                  <a:gd name="connsiteX160" fmla="*/ 1269946 w 1367015"/>
                  <a:gd name="connsiteY160" fmla="*/ 114878 h 1238250"/>
                  <a:gd name="connsiteX161" fmla="*/ 1273516 w 1367015"/>
                  <a:gd name="connsiteY161" fmla="*/ 112737 h 1238250"/>
                  <a:gd name="connsiteX162" fmla="*/ 1273516 w 1367015"/>
                  <a:gd name="connsiteY162" fmla="*/ 31395 h 1238250"/>
                  <a:gd name="connsiteX163" fmla="*/ 31410 w 1367015"/>
                  <a:gd name="connsiteY163" fmla="*/ 31395 h 1238250"/>
                  <a:gd name="connsiteX164" fmla="*/ 31410 w 1367015"/>
                  <a:gd name="connsiteY164" fmla="*/ 741352 h 1238250"/>
                  <a:gd name="connsiteX165" fmla="*/ 62819 w 1367015"/>
                  <a:gd name="connsiteY165" fmla="*/ 726368 h 1238250"/>
                  <a:gd name="connsiteX166" fmla="*/ 276976 w 1367015"/>
                  <a:gd name="connsiteY166" fmla="*/ 623621 h 1238250"/>
                  <a:gd name="connsiteX167" fmla="*/ 274834 w 1367015"/>
                  <a:gd name="connsiteY167" fmla="*/ 607210 h 1238250"/>
                  <a:gd name="connsiteX168" fmla="*/ 346933 w 1367015"/>
                  <a:gd name="connsiteY168" fmla="*/ 534430 h 1238250"/>
                  <a:gd name="connsiteX169" fmla="*/ 383340 w 1367015"/>
                  <a:gd name="connsiteY169" fmla="*/ 543706 h 1238250"/>
                  <a:gd name="connsiteX170" fmla="*/ 454725 w 1367015"/>
                  <a:gd name="connsiteY170" fmla="*/ 465218 h 1238250"/>
                  <a:gd name="connsiteX171" fmla="*/ 429026 w 1367015"/>
                  <a:gd name="connsiteY171" fmla="*/ 540138 h 1238250"/>
                  <a:gd name="connsiteX172" fmla="*/ 406183 w 1367015"/>
                  <a:gd name="connsiteY172" fmla="*/ 565112 h 1238250"/>
                  <a:gd name="connsiteX173" fmla="*/ 419746 w 1367015"/>
                  <a:gd name="connsiteY173" fmla="*/ 607210 h 1238250"/>
                  <a:gd name="connsiteX174" fmla="*/ 346933 w 1367015"/>
                  <a:gd name="connsiteY174" fmla="*/ 679275 h 1238250"/>
                  <a:gd name="connsiteX175" fmla="*/ 290539 w 1367015"/>
                  <a:gd name="connsiteY175" fmla="*/ 651448 h 1238250"/>
                  <a:gd name="connsiteX176" fmla="*/ 62819 w 1367015"/>
                  <a:gd name="connsiteY176" fmla="*/ 761331 h 1238250"/>
                  <a:gd name="connsiteX177" fmla="*/ 31410 w 1367015"/>
                  <a:gd name="connsiteY177" fmla="*/ 776315 h 1238250"/>
                  <a:gd name="connsiteX178" fmla="*/ 31410 w 1367015"/>
                  <a:gd name="connsiteY178" fmla="*/ 900468 h 1238250"/>
                  <a:gd name="connsiteX179" fmla="*/ 579650 w 1367015"/>
                  <a:gd name="connsiteY179" fmla="*/ 900468 h 1238250"/>
                  <a:gd name="connsiteX180" fmla="*/ 645324 w 1367015"/>
                  <a:gd name="connsiteY180" fmla="*/ 931863 h 1238250"/>
                  <a:gd name="connsiteX181" fmla="*/ 15705 w 1367015"/>
                  <a:gd name="connsiteY181" fmla="*/ 931863 h 1238250"/>
                  <a:gd name="connsiteX182" fmla="*/ 0 w 1367015"/>
                  <a:gd name="connsiteY182" fmla="*/ 916166 h 1238250"/>
                  <a:gd name="connsiteX183" fmla="*/ 0 w 1367015"/>
                  <a:gd name="connsiteY183" fmla="*/ 15698 h 1238250"/>
                  <a:gd name="connsiteX184" fmla="*/ 15705 w 1367015"/>
                  <a:gd name="connsiteY184" fmla="*/ 0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1367015" h="1238250">
                    <a:moveTo>
                      <a:pt x="1124567" y="922337"/>
                    </a:moveTo>
                    <a:cubicBezTo>
                      <a:pt x="1124567" y="922337"/>
                      <a:pt x="1124567" y="922337"/>
                      <a:pt x="1113855" y="931647"/>
                    </a:cubicBezTo>
                    <a:cubicBezTo>
                      <a:pt x="1113855" y="931647"/>
                      <a:pt x="1113855" y="931647"/>
                      <a:pt x="1058863" y="985360"/>
                    </a:cubicBezTo>
                    <a:cubicBezTo>
                      <a:pt x="1269544" y="1205939"/>
                      <a:pt x="1269544" y="1205939"/>
                      <a:pt x="1269544" y="1205939"/>
                    </a:cubicBezTo>
                    <a:cubicBezTo>
                      <a:pt x="1270258" y="1206655"/>
                      <a:pt x="1274543" y="1208087"/>
                      <a:pt x="1282399" y="1205939"/>
                    </a:cubicBezTo>
                    <a:cubicBezTo>
                      <a:pt x="1292398" y="1203074"/>
                      <a:pt x="1303110" y="1195912"/>
                      <a:pt x="1313109" y="1185886"/>
                    </a:cubicBezTo>
                    <a:cubicBezTo>
                      <a:pt x="1323107" y="1176576"/>
                      <a:pt x="1330963" y="1165833"/>
                      <a:pt x="1333820" y="1155807"/>
                    </a:cubicBezTo>
                    <a:cubicBezTo>
                      <a:pt x="1336676" y="1147929"/>
                      <a:pt x="1335962" y="1143632"/>
                      <a:pt x="1335248" y="1142916"/>
                    </a:cubicBezTo>
                    <a:cubicBezTo>
                      <a:pt x="1198841" y="1000399"/>
                      <a:pt x="1150277" y="949551"/>
                      <a:pt x="1133851" y="931647"/>
                    </a:cubicBezTo>
                    <a:cubicBezTo>
                      <a:pt x="1124567" y="922337"/>
                      <a:pt x="1124567" y="922337"/>
                      <a:pt x="1124567" y="922337"/>
                    </a:cubicBezTo>
                    <a:close/>
                    <a:moveTo>
                      <a:pt x="925229" y="906462"/>
                    </a:moveTo>
                    <a:cubicBezTo>
                      <a:pt x="925229" y="906462"/>
                      <a:pt x="925229" y="906462"/>
                      <a:pt x="949325" y="931862"/>
                    </a:cubicBezTo>
                    <a:cubicBezTo>
                      <a:pt x="949325" y="931862"/>
                      <a:pt x="949325" y="931862"/>
                      <a:pt x="869950" y="931862"/>
                    </a:cubicBezTo>
                    <a:cubicBezTo>
                      <a:pt x="889085" y="925331"/>
                      <a:pt x="907512" y="916622"/>
                      <a:pt x="925229" y="906462"/>
                    </a:cubicBezTo>
                    <a:close/>
                    <a:moveTo>
                      <a:pt x="1124927" y="884237"/>
                    </a:moveTo>
                    <a:cubicBezTo>
                      <a:pt x="1129214" y="884952"/>
                      <a:pt x="1132787" y="886383"/>
                      <a:pt x="1135645" y="889243"/>
                    </a:cubicBezTo>
                    <a:cubicBezTo>
                      <a:pt x="1139218" y="893534"/>
                      <a:pt x="1142790" y="897110"/>
                      <a:pt x="1146363" y="900686"/>
                    </a:cubicBezTo>
                    <a:cubicBezTo>
                      <a:pt x="1157081" y="912129"/>
                      <a:pt x="1167085" y="922857"/>
                      <a:pt x="1176374" y="932154"/>
                    </a:cubicBezTo>
                    <a:cubicBezTo>
                      <a:pt x="1357152" y="1121676"/>
                      <a:pt x="1357152" y="1121676"/>
                      <a:pt x="1357152" y="1121676"/>
                    </a:cubicBezTo>
                    <a:cubicBezTo>
                      <a:pt x="1367155" y="1131689"/>
                      <a:pt x="1370013" y="1148138"/>
                      <a:pt x="1363582" y="1166017"/>
                    </a:cubicBezTo>
                    <a:cubicBezTo>
                      <a:pt x="1358581" y="1181036"/>
                      <a:pt x="1348577" y="1196055"/>
                      <a:pt x="1335001" y="1208928"/>
                    </a:cubicBezTo>
                    <a:cubicBezTo>
                      <a:pt x="1321425" y="1221801"/>
                      <a:pt x="1305705" y="1231814"/>
                      <a:pt x="1290700" y="1236105"/>
                    </a:cubicBezTo>
                    <a:cubicBezTo>
                      <a:pt x="1284983" y="1237535"/>
                      <a:pt x="1279267" y="1238250"/>
                      <a:pt x="1273551" y="1238250"/>
                    </a:cubicBezTo>
                    <a:cubicBezTo>
                      <a:pt x="1262833" y="1238250"/>
                      <a:pt x="1252829" y="1234674"/>
                      <a:pt x="1246398" y="1227522"/>
                    </a:cubicBezTo>
                    <a:cubicBezTo>
                      <a:pt x="1024892" y="996520"/>
                      <a:pt x="1024892" y="996520"/>
                      <a:pt x="1024892" y="996520"/>
                    </a:cubicBezTo>
                    <a:cubicBezTo>
                      <a:pt x="1019175" y="990083"/>
                      <a:pt x="1019175" y="980071"/>
                      <a:pt x="1025606" y="974350"/>
                    </a:cubicBezTo>
                    <a:cubicBezTo>
                      <a:pt x="1042755" y="957185"/>
                      <a:pt x="1057046" y="943597"/>
                      <a:pt x="1068478" y="932154"/>
                    </a:cubicBezTo>
                    <a:cubicBezTo>
                      <a:pt x="1071336" y="930009"/>
                      <a:pt x="1073480" y="927148"/>
                      <a:pt x="1076338" y="925002"/>
                    </a:cubicBezTo>
                    <a:cubicBezTo>
                      <a:pt x="1087771" y="914275"/>
                      <a:pt x="1095631" y="906408"/>
                      <a:pt x="1100633" y="900686"/>
                    </a:cubicBezTo>
                    <a:cubicBezTo>
                      <a:pt x="1102062" y="899971"/>
                      <a:pt x="1103491" y="898541"/>
                      <a:pt x="1104205" y="897826"/>
                    </a:cubicBezTo>
                    <a:cubicBezTo>
                      <a:pt x="1113494" y="889243"/>
                      <a:pt x="1113494" y="889243"/>
                      <a:pt x="1113494" y="889243"/>
                    </a:cubicBezTo>
                    <a:cubicBezTo>
                      <a:pt x="1116352" y="886383"/>
                      <a:pt x="1120640" y="884237"/>
                      <a:pt x="1124927" y="884237"/>
                    </a:cubicBezTo>
                    <a:close/>
                    <a:moveTo>
                      <a:pt x="346518" y="565150"/>
                    </a:moveTo>
                    <a:cubicBezTo>
                      <a:pt x="324693" y="565150"/>
                      <a:pt x="306388" y="583814"/>
                      <a:pt x="306388" y="606784"/>
                    </a:cubicBezTo>
                    <a:cubicBezTo>
                      <a:pt x="306388" y="607502"/>
                      <a:pt x="306388" y="608220"/>
                      <a:pt x="306388" y="608938"/>
                    </a:cubicBezTo>
                    <a:cubicBezTo>
                      <a:pt x="307092" y="619705"/>
                      <a:pt x="312020" y="630472"/>
                      <a:pt x="319765" y="636933"/>
                    </a:cubicBezTo>
                    <a:cubicBezTo>
                      <a:pt x="326805" y="643393"/>
                      <a:pt x="336661" y="647700"/>
                      <a:pt x="346518" y="647700"/>
                    </a:cubicBezTo>
                    <a:cubicBezTo>
                      <a:pt x="369047" y="647700"/>
                      <a:pt x="387351" y="629037"/>
                      <a:pt x="387351" y="606784"/>
                    </a:cubicBezTo>
                    <a:cubicBezTo>
                      <a:pt x="387351" y="600324"/>
                      <a:pt x="385943" y="594581"/>
                      <a:pt x="383127" y="588838"/>
                    </a:cubicBezTo>
                    <a:cubicBezTo>
                      <a:pt x="378903" y="578789"/>
                      <a:pt x="370455" y="571611"/>
                      <a:pt x="360598" y="568021"/>
                    </a:cubicBezTo>
                    <a:cubicBezTo>
                      <a:pt x="356374" y="565868"/>
                      <a:pt x="351446" y="565150"/>
                      <a:pt x="346518" y="565150"/>
                    </a:cubicBezTo>
                    <a:close/>
                    <a:moveTo>
                      <a:pt x="760846" y="492125"/>
                    </a:moveTo>
                    <a:cubicBezTo>
                      <a:pt x="752187" y="492125"/>
                      <a:pt x="743528" y="494947"/>
                      <a:pt x="735591" y="499181"/>
                    </a:cubicBezTo>
                    <a:cubicBezTo>
                      <a:pt x="722602" y="506236"/>
                      <a:pt x="713221" y="519642"/>
                      <a:pt x="710335" y="535164"/>
                    </a:cubicBezTo>
                    <a:cubicBezTo>
                      <a:pt x="710335" y="537986"/>
                      <a:pt x="709613" y="540103"/>
                      <a:pt x="709613" y="542925"/>
                    </a:cubicBezTo>
                    <a:cubicBezTo>
                      <a:pt x="709613" y="571147"/>
                      <a:pt x="732704" y="593725"/>
                      <a:pt x="760846" y="593725"/>
                    </a:cubicBezTo>
                    <a:cubicBezTo>
                      <a:pt x="763011" y="593725"/>
                      <a:pt x="765176" y="593725"/>
                      <a:pt x="767341" y="593725"/>
                    </a:cubicBezTo>
                    <a:cubicBezTo>
                      <a:pt x="783216" y="591608"/>
                      <a:pt x="796926" y="583142"/>
                      <a:pt x="804864" y="570442"/>
                    </a:cubicBezTo>
                    <a:cubicBezTo>
                      <a:pt x="809915" y="562681"/>
                      <a:pt x="812801" y="553508"/>
                      <a:pt x="812801" y="542925"/>
                    </a:cubicBezTo>
                    <a:cubicBezTo>
                      <a:pt x="812801" y="542220"/>
                      <a:pt x="812801" y="540808"/>
                      <a:pt x="812801" y="539397"/>
                    </a:cubicBezTo>
                    <a:cubicBezTo>
                      <a:pt x="811358" y="515408"/>
                      <a:pt x="792597" y="495653"/>
                      <a:pt x="768062" y="492831"/>
                    </a:cubicBezTo>
                    <a:cubicBezTo>
                      <a:pt x="765898" y="492831"/>
                      <a:pt x="763733" y="492125"/>
                      <a:pt x="760846" y="492125"/>
                    </a:cubicBezTo>
                    <a:close/>
                    <a:moveTo>
                      <a:pt x="891455" y="415925"/>
                    </a:moveTo>
                    <a:cubicBezTo>
                      <a:pt x="899315" y="421636"/>
                      <a:pt x="907175" y="428060"/>
                      <a:pt x="915035" y="434485"/>
                    </a:cubicBezTo>
                    <a:cubicBezTo>
                      <a:pt x="917179" y="435913"/>
                      <a:pt x="918608" y="438054"/>
                      <a:pt x="920751" y="439482"/>
                    </a:cubicBezTo>
                    <a:cubicBezTo>
                      <a:pt x="920751" y="439482"/>
                      <a:pt x="920751" y="439482"/>
                      <a:pt x="877164" y="474460"/>
                    </a:cubicBezTo>
                    <a:cubicBezTo>
                      <a:pt x="869305" y="480885"/>
                      <a:pt x="860730" y="488023"/>
                      <a:pt x="850012" y="496589"/>
                    </a:cubicBezTo>
                    <a:cubicBezTo>
                      <a:pt x="846439" y="499445"/>
                      <a:pt x="842867" y="502300"/>
                      <a:pt x="838579" y="505155"/>
                    </a:cubicBezTo>
                    <a:cubicBezTo>
                      <a:pt x="840723" y="510152"/>
                      <a:pt x="842867" y="514435"/>
                      <a:pt x="844296" y="519432"/>
                    </a:cubicBezTo>
                    <a:cubicBezTo>
                      <a:pt x="846439" y="527285"/>
                      <a:pt x="847154" y="535137"/>
                      <a:pt x="847154" y="542989"/>
                    </a:cubicBezTo>
                    <a:cubicBezTo>
                      <a:pt x="847154" y="549414"/>
                      <a:pt x="846439" y="555124"/>
                      <a:pt x="845725" y="561549"/>
                    </a:cubicBezTo>
                    <a:cubicBezTo>
                      <a:pt x="842152" y="576540"/>
                      <a:pt x="835007" y="590103"/>
                      <a:pt x="824289" y="601524"/>
                    </a:cubicBezTo>
                    <a:cubicBezTo>
                      <a:pt x="809283" y="617942"/>
                      <a:pt x="786418" y="628650"/>
                      <a:pt x="761409" y="628650"/>
                    </a:cubicBezTo>
                    <a:cubicBezTo>
                      <a:pt x="714250" y="628650"/>
                      <a:pt x="676379" y="590103"/>
                      <a:pt x="676379" y="542989"/>
                    </a:cubicBezTo>
                    <a:cubicBezTo>
                      <a:pt x="676379" y="536564"/>
                      <a:pt x="677094" y="529426"/>
                      <a:pt x="678523" y="523715"/>
                    </a:cubicBezTo>
                    <a:cubicBezTo>
                      <a:pt x="678523" y="523715"/>
                      <a:pt x="678523" y="523715"/>
                      <a:pt x="582775" y="477316"/>
                    </a:cubicBezTo>
                    <a:cubicBezTo>
                      <a:pt x="578488" y="475174"/>
                      <a:pt x="574200" y="473033"/>
                      <a:pt x="569913" y="470891"/>
                    </a:cubicBezTo>
                    <a:cubicBezTo>
                      <a:pt x="577059" y="460183"/>
                      <a:pt x="585633" y="450903"/>
                      <a:pt x="594208" y="441623"/>
                    </a:cubicBezTo>
                    <a:cubicBezTo>
                      <a:pt x="594208" y="441623"/>
                      <a:pt x="594208" y="441623"/>
                      <a:pt x="694957" y="490165"/>
                    </a:cubicBezTo>
                    <a:cubicBezTo>
                      <a:pt x="700674" y="483026"/>
                      <a:pt x="707819" y="476602"/>
                      <a:pt x="715679" y="470891"/>
                    </a:cubicBezTo>
                    <a:cubicBezTo>
                      <a:pt x="728541" y="462325"/>
                      <a:pt x="744975" y="457328"/>
                      <a:pt x="761409" y="457328"/>
                    </a:cubicBezTo>
                    <a:cubicBezTo>
                      <a:pt x="771413" y="457328"/>
                      <a:pt x="781416" y="459470"/>
                      <a:pt x="789991" y="462325"/>
                    </a:cubicBezTo>
                    <a:cubicBezTo>
                      <a:pt x="799280" y="465894"/>
                      <a:pt x="808569" y="470891"/>
                      <a:pt x="815714" y="476602"/>
                    </a:cubicBezTo>
                    <a:cubicBezTo>
                      <a:pt x="815714" y="476602"/>
                      <a:pt x="815714" y="476602"/>
                      <a:pt x="831434" y="464466"/>
                    </a:cubicBezTo>
                    <a:cubicBezTo>
                      <a:pt x="842152" y="455900"/>
                      <a:pt x="860730" y="440910"/>
                      <a:pt x="891455" y="415925"/>
                    </a:cubicBezTo>
                    <a:close/>
                    <a:moveTo>
                      <a:pt x="772661" y="346605"/>
                    </a:moveTo>
                    <a:cubicBezTo>
                      <a:pt x="723066" y="343930"/>
                      <a:pt x="672758" y="354807"/>
                      <a:pt x="628158" y="379415"/>
                    </a:cubicBezTo>
                    <a:cubicBezTo>
                      <a:pt x="608178" y="390827"/>
                      <a:pt x="589624" y="404379"/>
                      <a:pt x="571784" y="420783"/>
                    </a:cubicBezTo>
                    <a:cubicBezTo>
                      <a:pt x="562508" y="430056"/>
                      <a:pt x="554658" y="439328"/>
                      <a:pt x="546809" y="449314"/>
                    </a:cubicBezTo>
                    <a:cubicBezTo>
                      <a:pt x="538245" y="460012"/>
                      <a:pt x="531109" y="470711"/>
                      <a:pt x="524687" y="482123"/>
                    </a:cubicBezTo>
                    <a:cubicBezTo>
                      <a:pt x="468313" y="582692"/>
                      <a:pt x="481158" y="712504"/>
                      <a:pt x="564648" y="800235"/>
                    </a:cubicBezTo>
                    <a:cubicBezTo>
                      <a:pt x="597474" y="833758"/>
                      <a:pt x="636008" y="856582"/>
                      <a:pt x="678110" y="869420"/>
                    </a:cubicBezTo>
                    <a:cubicBezTo>
                      <a:pt x="729488" y="885825"/>
                      <a:pt x="785862" y="885825"/>
                      <a:pt x="837955" y="869420"/>
                    </a:cubicBezTo>
                    <a:cubicBezTo>
                      <a:pt x="867212" y="860861"/>
                      <a:pt x="895756" y="845883"/>
                      <a:pt x="921445" y="826625"/>
                    </a:cubicBezTo>
                    <a:cubicBezTo>
                      <a:pt x="930008" y="820919"/>
                      <a:pt x="937144" y="814500"/>
                      <a:pt x="944280" y="807367"/>
                    </a:cubicBezTo>
                    <a:cubicBezTo>
                      <a:pt x="952130" y="799521"/>
                      <a:pt x="959979" y="791676"/>
                      <a:pt x="967115" y="783117"/>
                    </a:cubicBezTo>
                    <a:cubicBezTo>
                      <a:pt x="1047751" y="682548"/>
                      <a:pt x="1046324" y="537044"/>
                      <a:pt x="959979" y="437902"/>
                    </a:cubicBezTo>
                    <a:cubicBezTo>
                      <a:pt x="957125" y="435048"/>
                      <a:pt x="954270" y="431482"/>
                      <a:pt x="951416" y="427916"/>
                    </a:cubicBezTo>
                    <a:cubicBezTo>
                      <a:pt x="947135" y="423636"/>
                      <a:pt x="942853" y="419357"/>
                      <a:pt x="937858" y="415791"/>
                    </a:cubicBezTo>
                    <a:cubicBezTo>
                      <a:pt x="930008" y="408658"/>
                      <a:pt x="921445" y="401526"/>
                      <a:pt x="912882" y="395106"/>
                    </a:cubicBezTo>
                    <a:cubicBezTo>
                      <a:pt x="871137" y="365506"/>
                      <a:pt x="822256" y="349280"/>
                      <a:pt x="772661" y="346605"/>
                    </a:cubicBezTo>
                    <a:close/>
                    <a:moveTo>
                      <a:pt x="785477" y="308032"/>
                    </a:moveTo>
                    <a:cubicBezTo>
                      <a:pt x="842147" y="313027"/>
                      <a:pt x="897744" y="333721"/>
                      <a:pt x="945296" y="370115"/>
                    </a:cubicBezTo>
                    <a:cubicBezTo>
                      <a:pt x="953162" y="376537"/>
                      <a:pt x="961743" y="382959"/>
                      <a:pt x="969609" y="390809"/>
                    </a:cubicBezTo>
                    <a:cubicBezTo>
                      <a:pt x="973184" y="394377"/>
                      <a:pt x="976759" y="397231"/>
                      <a:pt x="980335" y="400799"/>
                    </a:cubicBezTo>
                    <a:cubicBezTo>
                      <a:pt x="983910" y="405081"/>
                      <a:pt x="987486" y="409363"/>
                      <a:pt x="991061" y="413644"/>
                    </a:cubicBezTo>
                    <a:cubicBezTo>
                      <a:pt x="1084021" y="521398"/>
                      <a:pt x="1089026" y="678390"/>
                      <a:pt x="1008223" y="791852"/>
                    </a:cubicBezTo>
                    <a:cubicBezTo>
                      <a:pt x="1080445" y="866780"/>
                      <a:pt x="1080445" y="866780"/>
                      <a:pt x="1080445" y="866780"/>
                    </a:cubicBezTo>
                    <a:cubicBezTo>
                      <a:pt x="1081160" y="867493"/>
                      <a:pt x="1081160" y="868207"/>
                      <a:pt x="1081875" y="868921"/>
                    </a:cubicBezTo>
                    <a:cubicBezTo>
                      <a:pt x="1083306" y="871775"/>
                      <a:pt x="1083306" y="874629"/>
                      <a:pt x="1081875" y="876770"/>
                    </a:cubicBezTo>
                    <a:cubicBezTo>
                      <a:pt x="1081875" y="876770"/>
                      <a:pt x="1081875" y="876770"/>
                      <a:pt x="1056848" y="900319"/>
                    </a:cubicBezTo>
                    <a:cubicBezTo>
                      <a:pt x="1056848" y="900319"/>
                      <a:pt x="1056848" y="900319"/>
                      <a:pt x="1055418" y="901746"/>
                    </a:cubicBezTo>
                    <a:cubicBezTo>
                      <a:pt x="1039686" y="917445"/>
                      <a:pt x="1029675" y="926722"/>
                      <a:pt x="1023954" y="931717"/>
                    </a:cubicBezTo>
                    <a:cubicBezTo>
                      <a:pt x="1014658" y="940994"/>
                      <a:pt x="1014658" y="940994"/>
                      <a:pt x="1014658" y="940994"/>
                    </a:cubicBezTo>
                    <a:cubicBezTo>
                      <a:pt x="1011798" y="944562"/>
                      <a:pt x="1006078" y="944562"/>
                      <a:pt x="1003217" y="940994"/>
                    </a:cubicBezTo>
                    <a:cubicBezTo>
                      <a:pt x="999642" y="938140"/>
                      <a:pt x="996782" y="934572"/>
                      <a:pt x="993921" y="931717"/>
                    </a:cubicBezTo>
                    <a:cubicBezTo>
                      <a:pt x="981765" y="919586"/>
                      <a:pt x="971754" y="908882"/>
                      <a:pt x="963888" y="900319"/>
                    </a:cubicBezTo>
                    <a:cubicBezTo>
                      <a:pt x="944581" y="881052"/>
                      <a:pt x="936715" y="872489"/>
                      <a:pt x="933140" y="868921"/>
                    </a:cubicBezTo>
                    <a:cubicBezTo>
                      <a:pt x="930995" y="866780"/>
                      <a:pt x="930995" y="866780"/>
                      <a:pt x="930995" y="866780"/>
                    </a:cubicBezTo>
                    <a:cubicBezTo>
                      <a:pt x="929565" y="867493"/>
                      <a:pt x="928134" y="868207"/>
                      <a:pt x="926704" y="868921"/>
                    </a:cubicBezTo>
                    <a:cubicBezTo>
                      <a:pt x="906682" y="882479"/>
                      <a:pt x="885945" y="892469"/>
                      <a:pt x="864493" y="900319"/>
                    </a:cubicBezTo>
                    <a:cubicBezTo>
                      <a:pt x="795846" y="926009"/>
                      <a:pt x="720048" y="926009"/>
                      <a:pt x="651400" y="900319"/>
                    </a:cubicBezTo>
                    <a:cubicBezTo>
                      <a:pt x="629948" y="892469"/>
                      <a:pt x="609211" y="882479"/>
                      <a:pt x="589189" y="868921"/>
                    </a:cubicBezTo>
                    <a:cubicBezTo>
                      <a:pt x="570597" y="856789"/>
                      <a:pt x="553435" y="842517"/>
                      <a:pt x="536988" y="826105"/>
                    </a:cubicBezTo>
                    <a:cubicBezTo>
                      <a:pt x="466196" y="751177"/>
                      <a:pt x="439738" y="649846"/>
                      <a:pt x="457615" y="554937"/>
                    </a:cubicBezTo>
                    <a:cubicBezTo>
                      <a:pt x="462621" y="529961"/>
                      <a:pt x="470486" y="505699"/>
                      <a:pt x="481213" y="482863"/>
                    </a:cubicBezTo>
                    <a:cubicBezTo>
                      <a:pt x="493369" y="456460"/>
                      <a:pt x="509816" y="430771"/>
                      <a:pt x="530553" y="408649"/>
                    </a:cubicBezTo>
                    <a:cubicBezTo>
                      <a:pt x="535558" y="402940"/>
                      <a:pt x="540564" y="397945"/>
                      <a:pt x="545569" y="392236"/>
                    </a:cubicBezTo>
                    <a:cubicBezTo>
                      <a:pt x="560586" y="378678"/>
                      <a:pt x="575602" y="366547"/>
                      <a:pt x="592049" y="355843"/>
                    </a:cubicBezTo>
                    <a:cubicBezTo>
                      <a:pt x="600630" y="350134"/>
                      <a:pt x="609926" y="345139"/>
                      <a:pt x="619222" y="340143"/>
                    </a:cubicBezTo>
                    <a:cubicBezTo>
                      <a:pt x="671065" y="313740"/>
                      <a:pt x="728807" y="303036"/>
                      <a:pt x="785477" y="308032"/>
                    </a:cubicBezTo>
                    <a:close/>
                    <a:moveTo>
                      <a:pt x="555676" y="304800"/>
                    </a:moveTo>
                    <a:cubicBezTo>
                      <a:pt x="570540" y="304800"/>
                      <a:pt x="583988" y="309099"/>
                      <a:pt x="595313" y="316982"/>
                    </a:cubicBezTo>
                    <a:cubicBezTo>
                      <a:pt x="584696" y="323431"/>
                      <a:pt x="574079" y="329880"/>
                      <a:pt x="563462" y="337046"/>
                    </a:cubicBezTo>
                    <a:cubicBezTo>
                      <a:pt x="561338" y="336330"/>
                      <a:pt x="558507" y="336330"/>
                      <a:pt x="555676" y="336330"/>
                    </a:cubicBezTo>
                    <a:cubicBezTo>
                      <a:pt x="533026" y="336330"/>
                      <a:pt x="515331" y="354961"/>
                      <a:pt x="515331" y="377175"/>
                    </a:cubicBezTo>
                    <a:cubicBezTo>
                      <a:pt x="515331" y="377891"/>
                      <a:pt x="515331" y="378608"/>
                      <a:pt x="515331" y="379325"/>
                    </a:cubicBezTo>
                    <a:cubicBezTo>
                      <a:pt x="506130" y="388640"/>
                      <a:pt x="498344" y="397956"/>
                      <a:pt x="490558" y="407988"/>
                    </a:cubicBezTo>
                    <a:cubicBezTo>
                      <a:pt x="486311" y="398672"/>
                      <a:pt x="484188" y="388640"/>
                      <a:pt x="484188" y="377175"/>
                    </a:cubicBezTo>
                    <a:cubicBezTo>
                      <a:pt x="484188" y="337046"/>
                      <a:pt x="516039" y="304800"/>
                      <a:pt x="555676" y="304800"/>
                    </a:cubicBezTo>
                    <a:close/>
                    <a:moveTo>
                      <a:pt x="1089384" y="233362"/>
                    </a:moveTo>
                    <a:cubicBezTo>
                      <a:pt x="1066414" y="233362"/>
                      <a:pt x="1047750" y="252026"/>
                      <a:pt x="1047750" y="274996"/>
                    </a:cubicBezTo>
                    <a:cubicBezTo>
                      <a:pt x="1047750" y="278585"/>
                      <a:pt x="1048468" y="282892"/>
                      <a:pt x="1049186" y="286481"/>
                    </a:cubicBezTo>
                    <a:cubicBezTo>
                      <a:pt x="1052775" y="296531"/>
                      <a:pt x="1059953" y="305863"/>
                      <a:pt x="1069285" y="310887"/>
                    </a:cubicBezTo>
                    <a:cubicBezTo>
                      <a:pt x="1075028" y="314476"/>
                      <a:pt x="1082206" y="315912"/>
                      <a:pt x="1089384" y="315912"/>
                    </a:cubicBezTo>
                    <a:cubicBezTo>
                      <a:pt x="1111637" y="315912"/>
                      <a:pt x="1130300" y="297249"/>
                      <a:pt x="1130300" y="274996"/>
                    </a:cubicBezTo>
                    <a:cubicBezTo>
                      <a:pt x="1130300" y="271407"/>
                      <a:pt x="1129582" y="267100"/>
                      <a:pt x="1128865" y="264229"/>
                    </a:cubicBezTo>
                    <a:cubicBezTo>
                      <a:pt x="1125993" y="253461"/>
                      <a:pt x="1118815" y="244130"/>
                      <a:pt x="1109483" y="239105"/>
                    </a:cubicBezTo>
                    <a:cubicBezTo>
                      <a:pt x="1103741" y="235516"/>
                      <a:pt x="1096562" y="233362"/>
                      <a:pt x="1089384" y="233362"/>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219977" y="931863"/>
                    </a:cubicBezTo>
                    <a:cubicBezTo>
                      <a:pt x="1219977" y="931863"/>
                      <a:pt x="1219977" y="931863"/>
                      <a:pt x="1189995" y="900468"/>
                    </a:cubicBezTo>
                    <a:cubicBezTo>
                      <a:pt x="1273516" y="900468"/>
                      <a:pt x="1273516" y="900468"/>
                      <a:pt x="1273516" y="900468"/>
                    </a:cubicBezTo>
                    <a:cubicBezTo>
                      <a:pt x="1273516" y="480916"/>
                      <a:pt x="1273516" y="264004"/>
                      <a:pt x="1273516" y="151267"/>
                    </a:cubicBezTo>
                    <a:cubicBezTo>
                      <a:pt x="1273516" y="151267"/>
                      <a:pt x="1273516" y="151267"/>
                      <a:pt x="1242106" y="175527"/>
                    </a:cubicBezTo>
                    <a:cubicBezTo>
                      <a:pt x="1242106" y="175527"/>
                      <a:pt x="1242106" y="175527"/>
                      <a:pt x="1154302" y="243312"/>
                    </a:cubicBezTo>
                    <a:cubicBezTo>
                      <a:pt x="1159299" y="253301"/>
                      <a:pt x="1161441" y="263291"/>
                      <a:pt x="1161441" y="274707"/>
                    </a:cubicBezTo>
                    <a:cubicBezTo>
                      <a:pt x="1161441" y="314664"/>
                      <a:pt x="1129317" y="346773"/>
                      <a:pt x="1089341" y="346773"/>
                    </a:cubicBezTo>
                    <a:cubicBezTo>
                      <a:pt x="1071495" y="346773"/>
                      <a:pt x="1055790" y="341065"/>
                      <a:pt x="1043655" y="331076"/>
                    </a:cubicBezTo>
                    <a:cubicBezTo>
                      <a:pt x="1043655" y="331076"/>
                      <a:pt x="1043655" y="331076"/>
                      <a:pt x="993685" y="371033"/>
                    </a:cubicBezTo>
                    <a:cubicBezTo>
                      <a:pt x="985833" y="363898"/>
                      <a:pt x="977980" y="356762"/>
                      <a:pt x="969414" y="349627"/>
                    </a:cubicBezTo>
                    <a:cubicBezTo>
                      <a:pt x="969414" y="349627"/>
                      <a:pt x="969414" y="349627"/>
                      <a:pt x="1024381" y="306102"/>
                    </a:cubicBezTo>
                    <a:cubicBezTo>
                      <a:pt x="1019384" y="296826"/>
                      <a:pt x="1016528" y="286123"/>
                      <a:pt x="1016528" y="274707"/>
                    </a:cubicBezTo>
                    <a:cubicBezTo>
                      <a:pt x="1016528" y="234750"/>
                      <a:pt x="1049365" y="201928"/>
                      <a:pt x="1089341" y="201928"/>
                    </a:cubicBezTo>
                    <a:cubicBezTo>
                      <a:pt x="1106474" y="201928"/>
                      <a:pt x="1122892" y="208349"/>
                      <a:pt x="1135028" y="219052"/>
                    </a:cubicBezTo>
                    <a:cubicBezTo>
                      <a:pt x="1135028" y="219052"/>
                      <a:pt x="1135028" y="219052"/>
                      <a:pt x="1242106" y="136283"/>
                    </a:cubicBezTo>
                    <a:cubicBezTo>
                      <a:pt x="1242106" y="136283"/>
                      <a:pt x="1242106" y="136283"/>
                      <a:pt x="1269946" y="114878"/>
                    </a:cubicBezTo>
                    <a:cubicBezTo>
                      <a:pt x="1270660" y="114164"/>
                      <a:pt x="1272088" y="113451"/>
                      <a:pt x="1273516" y="112737"/>
                    </a:cubicBezTo>
                    <a:cubicBezTo>
                      <a:pt x="1273516" y="31395"/>
                      <a:pt x="1273516" y="31395"/>
                      <a:pt x="1273516" y="31395"/>
                    </a:cubicBezTo>
                    <a:cubicBezTo>
                      <a:pt x="31410" y="31395"/>
                      <a:pt x="31410" y="31395"/>
                      <a:pt x="31410" y="31395"/>
                    </a:cubicBezTo>
                    <a:cubicBezTo>
                      <a:pt x="31410" y="406709"/>
                      <a:pt x="31410" y="620766"/>
                      <a:pt x="31410" y="741352"/>
                    </a:cubicBezTo>
                    <a:cubicBezTo>
                      <a:pt x="31410" y="741352"/>
                      <a:pt x="31410" y="741352"/>
                      <a:pt x="62819" y="726368"/>
                    </a:cubicBezTo>
                    <a:cubicBezTo>
                      <a:pt x="62819" y="726368"/>
                      <a:pt x="62819" y="726368"/>
                      <a:pt x="276976" y="623621"/>
                    </a:cubicBezTo>
                    <a:cubicBezTo>
                      <a:pt x="275548" y="617912"/>
                      <a:pt x="274834" y="612918"/>
                      <a:pt x="274834" y="607210"/>
                    </a:cubicBezTo>
                    <a:cubicBezTo>
                      <a:pt x="274834" y="567252"/>
                      <a:pt x="306957" y="534430"/>
                      <a:pt x="346933" y="534430"/>
                    </a:cubicBezTo>
                    <a:cubicBezTo>
                      <a:pt x="360496" y="534430"/>
                      <a:pt x="372632" y="537998"/>
                      <a:pt x="383340" y="543706"/>
                    </a:cubicBezTo>
                    <a:cubicBezTo>
                      <a:pt x="383340" y="543706"/>
                      <a:pt x="383340" y="543706"/>
                      <a:pt x="454725" y="465218"/>
                    </a:cubicBezTo>
                    <a:cubicBezTo>
                      <a:pt x="443304" y="489478"/>
                      <a:pt x="434737" y="514451"/>
                      <a:pt x="429026" y="540138"/>
                    </a:cubicBezTo>
                    <a:cubicBezTo>
                      <a:pt x="429026" y="540138"/>
                      <a:pt x="429026" y="540138"/>
                      <a:pt x="406183" y="565112"/>
                    </a:cubicBezTo>
                    <a:cubicBezTo>
                      <a:pt x="414749" y="577241"/>
                      <a:pt x="419746" y="591512"/>
                      <a:pt x="419746" y="607210"/>
                    </a:cubicBezTo>
                    <a:cubicBezTo>
                      <a:pt x="419746" y="647167"/>
                      <a:pt x="386909" y="679275"/>
                      <a:pt x="346933" y="679275"/>
                    </a:cubicBezTo>
                    <a:cubicBezTo>
                      <a:pt x="324090" y="679275"/>
                      <a:pt x="303388" y="668573"/>
                      <a:pt x="290539" y="651448"/>
                    </a:cubicBezTo>
                    <a:cubicBezTo>
                      <a:pt x="290539" y="651448"/>
                      <a:pt x="290539" y="651448"/>
                      <a:pt x="62819" y="761331"/>
                    </a:cubicBezTo>
                    <a:cubicBezTo>
                      <a:pt x="62819" y="761331"/>
                      <a:pt x="62819" y="761331"/>
                      <a:pt x="31410" y="776315"/>
                    </a:cubicBezTo>
                    <a:cubicBezTo>
                      <a:pt x="31410" y="900468"/>
                      <a:pt x="31410" y="900468"/>
                      <a:pt x="31410" y="900468"/>
                    </a:cubicBezTo>
                    <a:cubicBezTo>
                      <a:pt x="250563" y="900468"/>
                      <a:pt x="431168" y="900468"/>
                      <a:pt x="579650" y="900468"/>
                    </a:cubicBezTo>
                    <a:cubicBezTo>
                      <a:pt x="600351" y="913312"/>
                      <a:pt x="622481" y="924014"/>
                      <a:pt x="645324" y="931863"/>
                    </a:cubicBezTo>
                    <a:cubicBezTo>
                      <a:pt x="645324" y="931863"/>
                      <a:pt x="645324"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1" name="Freeform 20"/>
              <p:cNvSpPr>
                <a:spLocks/>
              </p:cNvSpPr>
              <p:nvPr/>
            </p:nvSpPr>
            <p:spPr bwMode="auto">
              <a:xfrm>
                <a:off x="6697662" y="3179762"/>
                <a:ext cx="1181100" cy="654050"/>
              </a:xfrm>
              <a:custGeom>
                <a:avLst/>
                <a:gdLst>
                  <a:gd name="connsiteX0" fmla="*/ 363861 w 1181100"/>
                  <a:gd name="connsiteY0" fmla="*/ 458787 h 654050"/>
                  <a:gd name="connsiteX1" fmla="*/ 452503 w 1181100"/>
                  <a:gd name="connsiteY1" fmla="*/ 632593 h 654050"/>
                  <a:gd name="connsiteX2" fmla="*/ 474663 w 1181100"/>
                  <a:gd name="connsiteY2" fmla="*/ 654050 h 654050"/>
                  <a:gd name="connsiteX3" fmla="*/ 0 w 1181100"/>
                  <a:gd name="connsiteY3" fmla="*/ 654050 h 654050"/>
                  <a:gd name="connsiteX4" fmla="*/ 0 w 1181100"/>
                  <a:gd name="connsiteY4" fmla="*/ 581095 h 654050"/>
                  <a:gd name="connsiteX5" fmla="*/ 221605 w 1181100"/>
                  <a:gd name="connsiteY5" fmla="*/ 473807 h 654050"/>
                  <a:gd name="connsiteX6" fmla="*/ 284512 w 1181100"/>
                  <a:gd name="connsiteY6" fmla="*/ 495265 h 654050"/>
                  <a:gd name="connsiteX7" fmla="*/ 363861 w 1181100"/>
                  <a:gd name="connsiteY7" fmla="*/ 458787 h 654050"/>
                  <a:gd name="connsiteX8" fmla="*/ 881470 w 1181100"/>
                  <a:gd name="connsiteY8" fmla="*/ 250825 h 654050"/>
                  <a:gd name="connsiteX9" fmla="*/ 879327 w 1181100"/>
                  <a:gd name="connsiteY9" fmla="*/ 543393 h 654050"/>
                  <a:gd name="connsiteX10" fmla="*/ 859328 w 1181100"/>
                  <a:gd name="connsiteY10" fmla="*/ 564748 h 654050"/>
                  <a:gd name="connsiteX11" fmla="*/ 840757 w 1181100"/>
                  <a:gd name="connsiteY11" fmla="*/ 581121 h 654050"/>
                  <a:gd name="connsiteX12" fmla="*/ 840043 w 1181100"/>
                  <a:gd name="connsiteY12" fmla="*/ 581833 h 654050"/>
                  <a:gd name="connsiteX13" fmla="*/ 696476 w 1181100"/>
                  <a:gd name="connsiteY13" fmla="*/ 630238 h 654050"/>
                  <a:gd name="connsiteX14" fmla="*/ 526481 w 1181100"/>
                  <a:gd name="connsiteY14" fmla="*/ 558342 h 654050"/>
                  <a:gd name="connsiteX15" fmla="*/ 489339 w 1181100"/>
                  <a:gd name="connsiteY15" fmla="*/ 284993 h 654050"/>
                  <a:gd name="connsiteX16" fmla="*/ 586479 w 1181100"/>
                  <a:gd name="connsiteY16" fmla="*/ 331975 h 654050"/>
                  <a:gd name="connsiteX17" fmla="*/ 699333 w 1181100"/>
                  <a:gd name="connsiteY17" fmla="*/ 441599 h 654050"/>
                  <a:gd name="connsiteX18" fmla="*/ 805044 w 1181100"/>
                  <a:gd name="connsiteY18" fmla="*/ 368279 h 654050"/>
                  <a:gd name="connsiteX19" fmla="*/ 812901 w 1181100"/>
                  <a:gd name="connsiteY19" fmla="*/ 328416 h 654050"/>
                  <a:gd name="connsiteX20" fmla="*/ 811472 w 1181100"/>
                  <a:gd name="connsiteY20" fmla="*/ 314179 h 654050"/>
                  <a:gd name="connsiteX21" fmla="*/ 810758 w 1181100"/>
                  <a:gd name="connsiteY21" fmla="*/ 307061 h 654050"/>
                  <a:gd name="connsiteX22" fmla="*/ 815758 w 1181100"/>
                  <a:gd name="connsiteY22" fmla="*/ 302790 h 654050"/>
                  <a:gd name="connsiteX23" fmla="*/ 850043 w 1181100"/>
                  <a:gd name="connsiteY23" fmla="*/ 275739 h 654050"/>
                  <a:gd name="connsiteX24" fmla="*/ 881470 w 1181100"/>
                  <a:gd name="connsiteY24" fmla="*/ 250825 h 654050"/>
                  <a:gd name="connsiteX25" fmla="*/ 1181100 w 1181100"/>
                  <a:gd name="connsiteY25" fmla="*/ 0 h 654050"/>
                  <a:gd name="connsiteX26" fmla="*/ 1181100 w 1181100"/>
                  <a:gd name="connsiteY26" fmla="*/ 654050 h 654050"/>
                  <a:gd name="connsiteX27" fmla="*/ 1099004 w 1181100"/>
                  <a:gd name="connsiteY27" fmla="*/ 654050 h 654050"/>
                  <a:gd name="connsiteX28" fmla="*/ 1096863 w 1181100"/>
                  <a:gd name="connsiteY28" fmla="*/ 651908 h 654050"/>
                  <a:gd name="connsiteX29" fmla="*/ 1069022 w 1181100"/>
                  <a:gd name="connsiteY29" fmla="*/ 638342 h 654050"/>
                  <a:gd name="connsiteX30" fmla="*/ 1066166 w 1181100"/>
                  <a:gd name="connsiteY30" fmla="*/ 637628 h 654050"/>
                  <a:gd name="connsiteX31" fmla="*/ 1064024 w 1181100"/>
                  <a:gd name="connsiteY31" fmla="*/ 637628 h 654050"/>
                  <a:gd name="connsiteX32" fmla="*/ 1048319 w 1181100"/>
                  <a:gd name="connsiteY32" fmla="*/ 640484 h 654050"/>
                  <a:gd name="connsiteX33" fmla="*/ 1040466 w 1181100"/>
                  <a:gd name="connsiteY33" fmla="*/ 629773 h 654050"/>
                  <a:gd name="connsiteX34" fmla="*/ 986212 w 1181100"/>
                  <a:gd name="connsiteY34" fmla="*/ 573365 h 654050"/>
                  <a:gd name="connsiteX35" fmla="*/ 954087 w 1181100"/>
                  <a:gd name="connsiteY35" fmla="*/ 178507 h 654050"/>
                  <a:gd name="connsiteX36" fmla="*/ 985498 w 1181100"/>
                  <a:gd name="connsiteY36" fmla="*/ 153516 h 654050"/>
                  <a:gd name="connsiteX37" fmla="*/ 1028330 w 1181100"/>
                  <a:gd name="connsiteY37" fmla="*/ 162798 h 654050"/>
                  <a:gd name="connsiteX38" fmla="*/ 1131843 w 1181100"/>
                  <a:gd name="connsiteY38" fmla="*/ 59264 h 654050"/>
                  <a:gd name="connsiteX39" fmla="*/ 1129701 w 1181100"/>
                  <a:gd name="connsiteY39" fmla="*/ 39985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81100" h="654050">
                    <a:moveTo>
                      <a:pt x="363861" y="458787"/>
                    </a:moveTo>
                    <a:cubicBezTo>
                      <a:pt x="375299" y="521729"/>
                      <a:pt x="404608" y="582525"/>
                      <a:pt x="452503" y="632593"/>
                    </a:cubicBezTo>
                    <a:cubicBezTo>
                      <a:pt x="459651" y="640460"/>
                      <a:pt x="466800" y="647613"/>
                      <a:pt x="474663" y="654050"/>
                    </a:cubicBezTo>
                    <a:cubicBezTo>
                      <a:pt x="474663" y="654050"/>
                      <a:pt x="474663" y="654050"/>
                      <a:pt x="0" y="654050"/>
                    </a:cubicBezTo>
                    <a:cubicBezTo>
                      <a:pt x="0" y="654050"/>
                      <a:pt x="0" y="654050"/>
                      <a:pt x="0" y="581095"/>
                    </a:cubicBezTo>
                    <a:cubicBezTo>
                      <a:pt x="0" y="581095"/>
                      <a:pt x="0" y="581095"/>
                      <a:pt x="221605" y="473807"/>
                    </a:cubicBezTo>
                    <a:cubicBezTo>
                      <a:pt x="239476" y="487397"/>
                      <a:pt x="261637" y="495265"/>
                      <a:pt x="284512" y="495265"/>
                    </a:cubicBezTo>
                    <a:cubicBezTo>
                      <a:pt x="316681" y="495265"/>
                      <a:pt x="344560" y="480960"/>
                      <a:pt x="363861" y="458787"/>
                    </a:cubicBezTo>
                    <a:close/>
                    <a:moveTo>
                      <a:pt x="881470" y="250825"/>
                    </a:moveTo>
                    <a:cubicBezTo>
                      <a:pt x="948611" y="336246"/>
                      <a:pt x="949325" y="457972"/>
                      <a:pt x="879327" y="543393"/>
                    </a:cubicBezTo>
                    <a:cubicBezTo>
                      <a:pt x="873613" y="551223"/>
                      <a:pt x="866471" y="558342"/>
                      <a:pt x="859328" y="564748"/>
                    </a:cubicBezTo>
                    <a:cubicBezTo>
                      <a:pt x="852185" y="571867"/>
                      <a:pt x="846471" y="577562"/>
                      <a:pt x="840757" y="581121"/>
                    </a:cubicBezTo>
                    <a:cubicBezTo>
                      <a:pt x="840757" y="581121"/>
                      <a:pt x="840757" y="581121"/>
                      <a:pt x="840043" y="581833"/>
                    </a:cubicBezTo>
                    <a:cubicBezTo>
                      <a:pt x="799330" y="613154"/>
                      <a:pt x="747903" y="630238"/>
                      <a:pt x="696476" y="630238"/>
                    </a:cubicBezTo>
                    <a:cubicBezTo>
                      <a:pt x="631478" y="630238"/>
                      <a:pt x="571480" y="604612"/>
                      <a:pt x="526481" y="558342"/>
                    </a:cubicBezTo>
                    <a:cubicBezTo>
                      <a:pt x="455055" y="483598"/>
                      <a:pt x="442912" y="372550"/>
                      <a:pt x="489339" y="284993"/>
                    </a:cubicBezTo>
                    <a:cubicBezTo>
                      <a:pt x="489339" y="284993"/>
                      <a:pt x="489339" y="284993"/>
                      <a:pt x="586479" y="331975"/>
                    </a:cubicBezTo>
                    <a:cubicBezTo>
                      <a:pt x="588622" y="392482"/>
                      <a:pt x="638621" y="441599"/>
                      <a:pt x="699333" y="441599"/>
                    </a:cubicBezTo>
                    <a:cubicBezTo>
                      <a:pt x="747903" y="441599"/>
                      <a:pt x="789330" y="410990"/>
                      <a:pt x="805044" y="368279"/>
                    </a:cubicBezTo>
                    <a:cubicBezTo>
                      <a:pt x="810044" y="356178"/>
                      <a:pt x="812901" y="342653"/>
                      <a:pt x="812901" y="328416"/>
                    </a:cubicBezTo>
                    <a:cubicBezTo>
                      <a:pt x="812901" y="323433"/>
                      <a:pt x="812187" y="319162"/>
                      <a:pt x="811472" y="314179"/>
                    </a:cubicBezTo>
                    <a:cubicBezTo>
                      <a:pt x="811472" y="312043"/>
                      <a:pt x="811472" y="309196"/>
                      <a:pt x="810758" y="307061"/>
                    </a:cubicBezTo>
                    <a:cubicBezTo>
                      <a:pt x="810758" y="307061"/>
                      <a:pt x="810758" y="307061"/>
                      <a:pt x="815758" y="302790"/>
                    </a:cubicBezTo>
                    <a:cubicBezTo>
                      <a:pt x="820758" y="299230"/>
                      <a:pt x="830757" y="291400"/>
                      <a:pt x="850043" y="275739"/>
                    </a:cubicBezTo>
                    <a:cubicBezTo>
                      <a:pt x="857899" y="269333"/>
                      <a:pt x="868613" y="260791"/>
                      <a:pt x="881470" y="250825"/>
                    </a:cubicBezTo>
                    <a:close/>
                    <a:moveTo>
                      <a:pt x="1181100" y="0"/>
                    </a:moveTo>
                    <a:cubicBezTo>
                      <a:pt x="1181100" y="0"/>
                      <a:pt x="1181100" y="0"/>
                      <a:pt x="1181100" y="654050"/>
                    </a:cubicBezTo>
                    <a:cubicBezTo>
                      <a:pt x="1181100" y="654050"/>
                      <a:pt x="1181100" y="654050"/>
                      <a:pt x="1099004" y="654050"/>
                    </a:cubicBezTo>
                    <a:cubicBezTo>
                      <a:pt x="1099004" y="654050"/>
                      <a:pt x="1099004" y="654050"/>
                      <a:pt x="1096863" y="651908"/>
                    </a:cubicBezTo>
                    <a:cubicBezTo>
                      <a:pt x="1089724" y="644768"/>
                      <a:pt x="1079730" y="639770"/>
                      <a:pt x="1069022" y="638342"/>
                    </a:cubicBezTo>
                    <a:cubicBezTo>
                      <a:pt x="1069022" y="638342"/>
                      <a:pt x="1069022" y="638342"/>
                      <a:pt x="1066166" y="637628"/>
                    </a:cubicBezTo>
                    <a:cubicBezTo>
                      <a:pt x="1066166" y="637628"/>
                      <a:pt x="1066166" y="637628"/>
                      <a:pt x="1064024" y="637628"/>
                    </a:cubicBezTo>
                    <a:cubicBezTo>
                      <a:pt x="1058313" y="637628"/>
                      <a:pt x="1053316" y="638342"/>
                      <a:pt x="1048319" y="640484"/>
                    </a:cubicBezTo>
                    <a:cubicBezTo>
                      <a:pt x="1046177" y="636913"/>
                      <a:pt x="1043322" y="633343"/>
                      <a:pt x="1040466" y="629773"/>
                    </a:cubicBezTo>
                    <a:cubicBezTo>
                      <a:pt x="1040466" y="629773"/>
                      <a:pt x="1040466" y="629773"/>
                      <a:pt x="986212" y="573365"/>
                    </a:cubicBezTo>
                    <a:cubicBezTo>
                      <a:pt x="1061169" y="448410"/>
                      <a:pt x="1048319" y="289181"/>
                      <a:pt x="954087" y="178507"/>
                    </a:cubicBezTo>
                    <a:cubicBezTo>
                      <a:pt x="954087" y="178507"/>
                      <a:pt x="954087" y="178507"/>
                      <a:pt x="985498" y="153516"/>
                    </a:cubicBezTo>
                    <a:cubicBezTo>
                      <a:pt x="998348" y="159942"/>
                      <a:pt x="1013339" y="162798"/>
                      <a:pt x="1028330" y="162798"/>
                    </a:cubicBezTo>
                    <a:cubicBezTo>
                      <a:pt x="1085441" y="162798"/>
                      <a:pt x="1131843" y="116386"/>
                      <a:pt x="1131843" y="59264"/>
                    </a:cubicBezTo>
                    <a:cubicBezTo>
                      <a:pt x="1131843" y="52838"/>
                      <a:pt x="1131129" y="45698"/>
                      <a:pt x="1129701" y="39985"/>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54" name="bcgIcons_BusinessModels">
            <a:extLst>
              <a:ext uri="{FF2B5EF4-FFF2-40B4-BE49-F238E27FC236}">
                <a16:creationId xmlns="" xmlns:a16="http://schemas.microsoft.com/office/drawing/2014/main" id="{E3D8004E-E2D5-4723-97DB-B82604981907}"/>
              </a:ext>
            </a:extLst>
          </p:cNvPr>
          <p:cNvGrpSpPr>
            <a:grpSpLocks noChangeAspect="1"/>
          </p:cNvGrpSpPr>
          <p:nvPr/>
        </p:nvGrpSpPr>
        <p:grpSpPr bwMode="auto">
          <a:xfrm>
            <a:off x="9177212" y="2191475"/>
            <a:ext cx="1035018" cy="1189900"/>
            <a:chOff x="1878" y="196"/>
            <a:chExt cx="3924" cy="3927"/>
          </a:xfrm>
        </p:grpSpPr>
        <p:sp>
          <p:nvSpPr>
            <p:cNvPr id="55" name="AutoShape 3">
              <a:extLst>
                <a:ext uri="{FF2B5EF4-FFF2-40B4-BE49-F238E27FC236}">
                  <a16:creationId xmlns="" xmlns:a16="http://schemas.microsoft.com/office/drawing/2014/main" id="{5CBAB585-11B8-4110-BA84-4F4A75260F5F}"/>
                </a:ext>
              </a:extLst>
            </p:cNvPr>
            <p:cNvSpPr>
              <a:spLocks noChangeAspect="1" noChangeArrowheads="1" noTextEdit="1"/>
            </p:cNvSpPr>
            <p:nvPr/>
          </p:nvSpPr>
          <p:spPr bwMode="auto">
            <a:xfrm>
              <a:off x="1878" y="196"/>
              <a:ext cx="3924" cy="3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56" name="Freeform 55">
              <a:extLst>
                <a:ext uri="{FF2B5EF4-FFF2-40B4-BE49-F238E27FC236}">
                  <a16:creationId xmlns="" xmlns:a16="http://schemas.microsoft.com/office/drawing/2014/main" id="{343E3512-7A99-4F4C-912D-C129915DB069}"/>
                </a:ext>
              </a:extLst>
            </p:cNvPr>
            <p:cNvSpPr>
              <a:spLocks noEditPoints="1"/>
            </p:cNvSpPr>
            <p:nvPr/>
          </p:nvSpPr>
          <p:spPr bwMode="auto">
            <a:xfrm>
              <a:off x="2609" y="1147"/>
              <a:ext cx="2458" cy="2333"/>
            </a:xfrm>
            <a:custGeom>
              <a:avLst/>
              <a:gdLst>
                <a:gd name="T0" fmla="*/ 44 w 1312"/>
                <a:gd name="T1" fmla="*/ 654 h 1244"/>
                <a:gd name="T2" fmla="*/ 132 w 1312"/>
                <a:gd name="T3" fmla="*/ 924 h 1244"/>
                <a:gd name="T4" fmla="*/ 91 w 1312"/>
                <a:gd name="T5" fmla="*/ 942 h 1244"/>
                <a:gd name="T6" fmla="*/ 0 w 1312"/>
                <a:gd name="T7" fmla="*/ 660 h 1244"/>
                <a:gd name="T8" fmla="*/ 44 w 1312"/>
                <a:gd name="T9" fmla="*/ 654 h 1244"/>
                <a:gd name="T10" fmla="*/ 1268 w 1312"/>
                <a:gd name="T11" fmla="*/ 654 h 1244"/>
                <a:gd name="T12" fmla="*/ 1180 w 1312"/>
                <a:gd name="T13" fmla="*/ 924 h 1244"/>
                <a:gd name="T14" fmla="*/ 1221 w 1312"/>
                <a:gd name="T15" fmla="*/ 942 h 1244"/>
                <a:gd name="T16" fmla="*/ 1312 w 1312"/>
                <a:gd name="T17" fmla="*/ 660 h 1244"/>
                <a:gd name="T18" fmla="*/ 1268 w 1312"/>
                <a:gd name="T19" fmla="*/ 654 h 1244"/>
                <a:gd name="T20" fmla="*/ 902 w 1312"/>
                <a:gd name="T21" fmla="*/ 39 h 1244"/>
                <a:gd name="T22" fmla="*/ 1101 w 1312"/>
                <a:gd name="T23" fmla="*/ 184 h 1244"/>
                <a:gd name="T24" fmla="*/ 1131 w 1312"/>
                <a:gd name="T25" fmla="*/ 151 h 1244"/>
                <a:gd name="T26" fmla="*/ 923 w 1312"/>
                <a:gd name="T27" fmla="*/ 0 h 1244"/>
                <a:gd name="T28" fmla="*/ 902 w 1312"/>
                <a:gd name="T29" fmla="*/ 39 h 1244"/>
                <a:gd name="T30" fmla="*/ 790 w 1312"/>
                <a:gd name="T31" fmla="*/ 1244 h 1244"/>
                <a:gd name="T32" fmla="*/ 787 w 1312"/>
                <a:gd name="T33" fmla="*/ 1202 h 1244"/>
                <a:gd name="T34" fmla="*/ 787 w 1312"/>
                <a:gd name="T35" fmla="*/ 1200 h 1244"/>
                <a:gd name="T36" fmla="*/ 525 w 1312"/>
                <a:gd name="T37" fmla="*/ 1200 h 1244"/>
                <a:gd name="T38" fmla="*/ 525 w 1312"/>
                <a:gd name="T39" fmla="*/ 1202 h 1244"/>
                <a:gd name="T40" fmla="*/ 522 w 1312"/>
                <a:gd name="T41" fmla="*/ 1244 h 1244"/>
                <a:gd name="T42" fmla="*/ 790 w 1312"/>
                <a:gd name="T43" fmla="*/ 1244 h 1244"/>
                <a:gd name="T44" fmla="*/ 211 w 1312"/>
                <a:gd name="T45" fmla="*/ 184 h 1244"/>
                <a:gd name="T46" fmla="*/ 410 w 1312"/>
                <a:gd name="T47" fmla="*/ 39 h 1244"/>
                <a:gd name="T48" fmla="*/ 389 w 1312"/>
                <a:gd name="T49" fmla="*/ 0 h 1244"/>
                <a:gd name="T50" fmla="*/ 181 w 1312"/>
                <a:gd name="T51" fmla="*/ 151 h 1244"/>
                <a:gd name="T52" fmla="*/ 211 w 1312"/>
                <a:gd name="T53" fmla="*/ 184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12" h="1244">
                  <a:moveTo>
                    <a:pt x="44" y="654"/>
                  </a:moveTo>
                  <a:cubicBezTo>
                    <a:pt x="132" y="924"/>
                    <a:pt x="132" y="924"/>
                    <a:pt x="132" y="924"/>
                  </a:cubicBezTo>
                  <a:cubicBezTo>
                    <a:pt x="118" y="929"/>
                    <a:pt x="104" y="935"/>
                    <a:pt x="91" y="942"/>
                  </a:cubicBezTo>
                  <a:cubicBezTo>
                    <a:pt x="0" y="660"/>
                    <a:pt x="0" y="660"/>
                    <a:pt x="0" y="660"/>
                  </a:cubicBezTo>
                  <a:cubicBezTo>
                    <a:pt x="15" y="659"/>
                    <a:pt x="29" y="657"/>
                    <a:pt x="44" y="654"/>
                  </a:cubicBezTo>
                  <a:close/>
                  <a:moveTo>
                    <a:pt x="1268" y="654"/>
                  </a:moveTo>
                  <a:cubicBezTo>
                    <a:pt x="1180" y="924"/>
                    <a:pt x="1180" y="924"/>
                    <a:pt x="1180" y="924"/>
                  </a:cubicBezTo>
                  <a:cubicBezTo>
                    <a:pt x="1194" y="929"/>
                    <a:pt x="1208" y="935"/>
                    <a:pt x="1221" y="942"/>
                  </a:cubicBezTo>
                  <a:cubicBezTo>
                    <a:pt x="1312" y="660"/>
                    <a:pt x="1312" y="660"/>
                    <a:pt x="1312" y="660"/>
                  </a:cubicBezTo>
                  <a:cubicBezTo>
                    <a:pt x="1297" y="659"/>
                    <a:pt x="1283" y="657"/>
                    <a:pt x="1268" y="654"/>
                  </a:cubicBezTo>
                  <a:close/>
                  <a:moveTo>
                    <a:pt x="902" y="39"/>
                  </a:moveTo>
                  <a:cubicBezTo>
                    <a:pt x="1101" y="184"/>
                    <a:pt x="1101" y="184"/>
                    <a:pt x="1101" y="184"/>
                  </a:cubicBezTo>
                  <a:cubicBezTo>
                    <a:pt x="1110" y="172"/>
                    <a:pt x="1120" y="161"/>
                    <a:pt x="1131" y="151"/>
                  </a:cubicBezTo>
                  <a:cubicBezTo>
                    <a:pt x="923" y="0"/>
                    <a:pt x="923" y="0"/>
                    <a:pt x="923" y="0"/>
                  </a:cubicBezTo>
                  <a:cubicBezTo>
                    <a:pt x="917" y="14"/>
                    <a:pt x="910" y="27"/>
                    <a:pt x="902" y="39"/>
                  </a:cubicBezTo>
                  <a:close/>
                  <a:moveTo>
                    <a:pt x="790" y="1244"/>
                  </a:moveTo>
                  <a:cubicBezTo>
                    <a:pt x="788" y="1230"/>
                    <a:pt x="787" y="1216"/>
                    <a:pt x="787" y="1202"/>
                  </a:cubicBezTo>
                  <a:cubicBezTo>
                    <a:pt x="787" y="1201"/>
                    <a:pt x="787" y="1200"/>
                    <a:pt x="787" y="1200"/>
                  </a:cubicBezTo>
                  <a:cubicBezTo>
                    <a:pt x="525" y="1200"/>
                    <a:pt x="525" y="1200"/>
                    <a:pt x="525" y="1200"/>
                  </a:cubicBezTo>
                  <a:cubicBezTo>
                    <a:pt x="525" y="1200"/>
                    <a:pt x="525" y="1201"/>
                    <a:pt x="525" y="1202"/>
                  </a:cubicBezTo>
                  <a:cubicBezTo>
                    <a:pt x="525" y="1216"/>
                    <a:pt x="524" y="1230"/>
                    <a:pt x="522" y="1244"/>
                  </a:cubicBezTo>
                  <a:lnTo>
                    <a:pt x="790" y="1244"/>
                  </a:lnTo>
                  <a:close/>
                  <a:moveTo>
                    <a:pt x="211" y="184"/>
                  </a:moveTo>
                  <a:cubicBezTo>
                    <a:pt x="410" y="39"/>
                    <a:pt x="410" y="39"/>
                    <a:pt x="410" y="39"/>
                  </a:cubicBezTo>
                  <a:cubicBezTo>
                    <a:pt x="402" y="27"/>
                    <a:pt x="395" y="14"/>
                    <a:pt x="389" y="0"/>
                  </a:cubicBezTo>
                  <a:cubicBezTo>
                    <a:pt x="181" y="151"/>
                    <a:pt x="181" y="151"/>
                    <a:pt x="181" y="151"/>
                  </a:cubicBezTo>
                  <a:cubicBezTo>
                    <a:pt x="192" y="161"/>
                    <a:pt x="202" y="172"/>
                    <a:pt x="211" y="1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57" name="Freeform 56">
              <a:extLst>
                <a:ext uri="{FF2B5EF4-FFF2-40B4-BE49-F238E27FC236}">
                  <a16:creationId xmlns="" xmlns:a16="http://schemas.microsoft.com/office/drawing/2014/main" id="{D31E9B9D-C13F-460E-98C8-5BE093CCD909}"/>
                </a:ext>
              </a:extLst>
            </p:cNvPr>
            <p:cNvSpPr>
              <a:spLocks noEditPoints="1"/>
            </p:cNvSpPr>
            <p:nvPr/>
          </p:nvSpPr>
          <p:spPr bwMode="auto">
            <a:xfrm>
              <a:off x="2100" y="442"/>
              <a:ext cx="3476" cy="3432"/>
            </a:xfrm>
            <a:custGeom>
              <a:avLst/>
              <a:gdLst>
                <a:gd name="T0" fmla="*/ 928 w 1856"/>
                <a:gd name="T1" fmla="*/ 503 h 1830"/>
                <a:gd name="T2" fmla="*/ 677 w 1856"/>
                <a:gd name="T3" fmla="*/ 252 h 1830"/>
                <a:gd name="T4" fmla="*/ 677 w 1856"/>
                <a:gd name="T5" fmla="*/ 252 h 1830"/>
                <a:gd name="T6" fmla="*/ 928 w 1856"/>
                <a:gd name="T7" fmla="*/ 0 h 1830"/>
                <a:gd name="T8" fmla="*/ 1179 w 1856"/>
                <a:gd name="T9" fmla="*/ 252 h 1830"/>
                <a:gd name="T10" fmla="*/ 1179 w 1856"/>
                <a:gd name="T11" fmla="*/ 252 h 1830"/>
                <a:gd name="T12" fmla="*/ 928 w 1856"/>
                <a:gd name="T13" fmla="*/ 503 h 1830"/>
                <a:gd name="T14" fmla="*/ 502 w 1856"/>
                <a:gd name="T15" fmla="*/ 742 h 1830"/>
                <a:gd name="T16" fmla="*/ 502 w 1856"/>
                <a:gd name="T17" fmla="*/ 742 h 1830"/>
                <a:gd name="T18" fmla="*/ 251 w 1856"/>
                <a:gd name="T19" fmla="*/ 491 h 1830"/>
                <a:gd name="T20" fmla="*/ 0 w 1856"/>
                <a:gd name="T21" fmla="*/ 742 h 1830"/>
                <a:gd name="T22" fmla="*/ 0 w 1856"/>
                <a:gd name="T23" fmla="*/ 742 h 1830"/>
                <a:gd name="T24" fmla="*/ 251 w 1856"/>
                <a:gd name="T25" fmla="*/ 993 h 1830"/>
                <a:gd name="T26" fmla="*/ 502 w 1856"/>
                <a:gd name="T27" fmla="*/ 742 h 1830"/>
                <a:gd name="T28" fmla="*/ 1605 w 1856"/>
                <a:gd name="T29" fmla="*/ 491 h 1830"/>
                <a:gd name="T30" fmla="*/ 1354 w 1856"/>
                <a:gd name="T31" fmla="*/ 742 h 1830"/>
                <a:gd name="T32" fmla="*/ 1354 w 1856"/>
                <a:gd name="T33" fmla="*/ 742 h 1830"/>
                <a:gd name="T34" fmla="*/ 1605 w 1856"/>
                <a:gd name="T35" fmla="*/ 993 h 1830"/>
                <a:gd name="T36" fmla="*/ 1856 w 1856"/>
                <a:gd name="T37" fmla="*/ 742 h 1830"/>
                <a:gd name="T38" fmla="*/ 1856 w 1856"/>
                <a:gd name="T39" fmla="*/ 742 h 1830"/>
                <a:gd name="T40" fmla="*/ 1605 w 1856"/>
                <a:gd name="T41" fmla="*/ 491 h 1830"/>
                <a:gd name="T42" fmla="*/ 502 w 1856"/>
                <a:gd name="T43" fmla="*/ 1327 h 1830"/>
                <a:gd name="T44" fmla="*/ 251 w 1856"/>
                <a:gd name="T45" fmla="*/ 1578 h 1830"/>
                <a:gd name="T46" fmla="*/ 251 w 1856"/>
                <a:gd name="T47" fmla="*/ 1578 h 1830"/>
                <a:gd name="T48" fmla="*/ 502 w 1856"/>
                <a:gd name="T49" fmla="*/ 1830 h 1830"/>
                <a:gd name="T50" fmla="*/ 753 w 1856"/>
                <a:gd name="T51" fmla="*/ 1578 h 1830"/>
                <a:gd name="T52" fmla="*/ 753 w 1856"/>
                <a:gd name="T53" fmla="*/ 1578 h 1830"/>
                <a:gd name="T54" fmla="*/ 502 w 1856"/>
                <a:gd name="T55" fmla="*/ 1327 h 1830"/>
                <a:gd name="T56" fmla="*/ 1354 w 1856"/>
                <a:gd name="T57" fmla="*/ 1327 h 1830"/>
                <a:gd name="T58" fmla="*/ 1103 w 1856"/>
                <a:gd name="T59" fmla="*/ 1578 h 1830"/>
                <a:gd name="T60" fmla="*/ 1103 w 1856"/>
                <a:gd name="T61" fmla="*/ 1578 h 1830"/>
                <a:gd name="T62" fmla="*/ 1354 w 1856"/>
                <a:gd name="T63" fmla="*/ 1830 h 1830"/>
                <a:gd name="T64" fmla="*/ 1605 w 1856"/>
                <a:gd name="T65" fmla="*/ 1578 h 1830"/>
                <a:gd name="T66" fmla="*/ 1605 w 1856"/>
                <a:gd name="T67" fmla="*/ 1578 h 1830"/>
                <a:gd name="T68" fmla="*/ 1354 w 1856"/>
                <a:gd name="T69" fmla="*/ 1327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56" h="1830">
                  <a:moveTo>
                    <a:pt x="928" y="503"/>
                  </a:moveTo>
                  <a:cubicBezTo>
                    <a:pt x="789" y="503"/>
                    <a:pt x="677" y="390"/>
                    <a:pt x="677" y="252"/>
                  </a:cubicBezTo>
                  <a:cubicBezTo>
                    <a:pt x="677" y="252"/>
                    <a:pt x="677" y="252"/>
                    <a:pt x="677" y="252"/>
                  </a:cubicBezTo>
                  <a:cubicBezTo>
                    <a:pt x="677" y="113"/>
                    <a:pt x="789" y="0"/>
                    <a:pt x="928" y="0"/>
                  </a:cubicBezTo>
                  <a:cubicBezTo>
                    <a:pt x="1067" y="0"/>
                    <a:pt x="1179" y="113"/>
                    <a:pt x="1179" y="252"/>
                  </a:cubicBezTo>
                  <a:cubicBezTo>
                    <a:pt x="1179" y="252"/>
                    <a:pt x="1179" y="252"/>
                    <a:pt x="1179" y="252"/>
                  </a:cubicBezTo>
                  <a:cubicBezTo>
                    <a:pt x="1179" y="390"/>
                    <a:pt x="1067" y="503"/>
                    <a:pt x="928" y="503"/>
                  </a:cubicBezTo>
                  <a:close/>
                  <a:moveTo>
                    <a:pt x="502" y="742"/>
                  </a:moveTo>
                  <a:cubicBezTo>
                    <a:pt x="502" y="742"/>
                    <a:pt x="502" y="742"/>
                    <a:pt x="502" y="742"/>
                  </a:cubicBezTo>
                  <a:cubicBezTo>
                    <a:pt x="502" y="603"/>
                    <a:pt x="390" y="491"/>
                    <a:pt x="251" y="491"/>
                  </a:cubicBezTo>
                  <a:cubicBezTo>
                    <a:pt x="113" y="491"/>
                    <a:pt x="0" y="603"/>
                    <a:pt x="0" y="742"/>
                  </a:cubicBezTo>
                  <a:cubicBezTo>
                    <a:pt x="0" y="742"/>
                    <a:pt x="0" y="742"/>
                    <a:pt x="0" y="742"/>
                  </a:cubicBezTo>
                  <a:cubicBezTo>
                    <a:pt x="0" y="881"/>
                    <a:pt x="113" y="993"/>
                    <a:pt x="251" y="993"/>
                  </a:cubicBezTo>
                  <a:cubicBezTo>
                    <a:pt x="390" y="993"/>
                    <a:pt x="502" y="881"/>
                    <a:pt x="502" y="742"/>
                  </a:cubicBezTo>
                  <a:close/>
                  <a:moveTo>
                    <a:pt x="1605" y="491"/>
                  </a:moveTo>
                  <a:cubicBezTo>
                    <a:pt x="1466" y="491"/>
                    <a:pt x="1354" y="603"/>
                    <a:pt x="1354" y="742"/>
                  </a:cubicBezTo>
                  <a:cubicBezTo>
                    <a:pt x="1354" y="742"/>
                    <a:pt x="1354" y="742"/>
                    <a:pt x="1354" y="742"/>
                  </a:cubicBezTo>
                  <a:cubicBezTo>
                    <a:pt x="1354" y="881"/>
                    <a:pt x="1466" y="993"/>
                    <a:pt x="1605" y="993"/>
                  </a:cubicBezTo>
                  <a:cubicBezTo>
                    <a:pt x="1743" y="993"/>
                    <a:pt x="1856" y="881"/>
                    <a:pt x="1856" y="742"/>
                  </a:cubicBezTo>
                  <a:cubicBezTo>
                    <a:pt x="1856" y="742"/>
                    <a:pt x="1856" y="742"/>
                    <a:pt x="1856" y="742"/>
                  </a:cubicBezTo>
                  <a:cubicBezTo>
                    <a:pt x="1856" y="603"/>
                    <a:pt x="1743" y="491"/>
                    <a:pt x="1605" y="491"/>
                  </a:cubicBezTo>
                  <a:close/>
                  <a:moveTo>
                    <a:pt x="502" y="1327"/>
                  </a:moveTo>
                  <a:cubicBezTo>
                    <a:pt x="364" y="1327"/>
                    <a:pt x="251" y="1440"/>
                    <a:pt x="251" y="1578"/>
                  </a:cubicBezTo>
                  <a:cubicBezTo>
                    <a:pt x="251" y="1578"/>
                    <a:pt x="251" y="1578"/>
                    <a:pt x="251" y="1578"/>
                  </a:cubicBezTo>
                  <a:cubicBezTo>
                    <a:pt x="251" y="1717"/>
                    <a:pt x="364" y="1830"/>
                    <a:pt x="502" y="1830"/>
                  </a:cubicBezTo>
                  <a:cubicBezTo>
                    <a:pt x="641" y="1830"/>
                    <a:pt x="753" y="1717"/>
                    <a:pt x="753" y="1578"/>
                  </a:cubicBezTo>
                  <a:cubicBezTo>
                    <a:pt x="753" y="1578"/>
                    <a:pt x="753" y="1578"/>
                    <a:pt x="753" y="1578"/>
                  </a:cubicBezTo>
                  <a:cubicBezTo>
                    <a:pt x="753" y="1440"/>
                    <a:pt x="641" y="1327"/>
                    <a:pt x="502" y="1327"/>
                  </a:cubicBezTo>
                  <a:close/>
                  <a:moveTo>
                    <a:pt x="1354" y="1327"/>
                  </a:moveTo>
                  <a:cubicBezTo>
                    <a:pt x="1215" y="1327"/>
                    <a:pt x="1103" y="1440"/>
                    <a:pt x="1103" y="1578"/>
                  </a:cubicBezTo>
                  <a:cubicBezTo>
                    <a:pt x="1103" y="1578"/>
                    <a:pt x="1103" y="1578"/>
                    <a:pt x="1103" y="1578"/>
                  </a:cubicBezTo>
                  <a:cubicBezTo>
                    <a:pt x="1103" y="1717"/>
                    <a:pt x="1215" y="1830"/>
                    <a:pt x="1354" y="1830"/>
                  </a:cubicBezTo>
                  <a:cubicBezTo>
                    <a:pt x="1492" y="1830"/>
                    <a:pt x="1605" y="1717"/>
                    <a:pt x="1605" y="1578"/>
                  </a:cubicBezTo>
                  <a:cubicBezTo>
                    <a:pt x="1605" y="1578"/>
                    <a:pt x="1605" y="1578"/>
                    <a:pt x="1605" y="1578"/>
                  </a:cubicBezTo>
                  <a:cubicBezTo>
                    <a:pt x="1605" y="1440"/>
                    <a:pt x="1492" y="1327"/>
                    <a:pt x="1354" y="132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grpSp>
        <p:nvGrpSpPr>
          <p:cNvPr id="58" name="Group 57"/>
          <p:cNvGrpSpPr>
            <a:grpSpLocks noChangeAspect="1"/>
          </p:cNvGrpSpPr>
          <p:nvPr/>
        </p:nvGrpSpPr>
        <p:grpSpPr>
          <a:xfrm>
            <a:off x="7553498" y="2240198"/>
            <a:ext cx="1035018" cy="1188987"/>
            <a:chOff x="5256341" y="2517774"/>
            <a:chExt cx="1646238" cy="1646238"/>
          </a:xfrm>
        </p:grpSpPr>
        <p:sp>
          <p:nvSpPr>
            <p:cNvPr id="59" name="AutoShape 107"/>
            <p:cNvSpPr>
              <a:spLocks noChangeAspect="1" noChangeArrowheads="1" noTextEdit="1"/>
            </p:cNvSpPr>
            <p:nvPr/>
          </p:nvSpPr>
          <p:spPr bwMode="auto">
            <a:xfrm>
              <a:off x="5256341" y="2517774"/>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60" name="Group 59"/>
            <p:cNvGrpSpPr/>
            <p:nvPr/>
          </p:nvGrpSpPr>
          <p:grpSpPr>
            <a:xfrm>
              <a:off x="5432682" y="2692400"/>
              <a:ext cx="1293556" cy="1296990"/>
              <a:chOff x="5432682" y="2692400"/>
              <a:chExt cx="1293556" cy="1296990"/>
            </a:xfrm>
          </p:grpSpPr>
          <p:sp>
            <p:nvSpPr>
              <p:cNvPr id="61" name="Freeform 60"/>
              <p:cNvSpPr>
                <a:spLocks/>
              </p:cNvSpPr>
              <p:nvPr/>
            </p:nvSpPr>
            <p:spPr bwMode="auto">
              <a:xfrm>
                <a:off x="5432682" y="2753318"/>
                <a:ext cx="1285289" cy="1236072"/>
              </a:xfrm>
              <a:custGeom>
                <a:avLst/>
                <a:gdLst>
                  <a:gd name="connsiteX0" fmla="*/ 233276 w 1285289"/>
                  <a:gd name="connsiteY0" fmla="*/ 991595 h 1236070"/>
                  <a:gd name="connsiteX1" fmla="*/ 630639 w 1285289"/>
                  <a:gd name="connsiteY1" fmla="*/ 1202571 h 1236070"/>
                  <a:gd name="connsiteX2" fmla="*/ 1078030 w 1285289"/>
                  <a:gd name="connsiteY2" fmla="*/ 1042201 h 1236070"/>
                  <a:gd name="connsiteX3" fmla="*/ 1008706 w 1285289"/>
                  <a:gd name="connsiteY3" fmla="*/ 1044339 h 1236070"/>
                  <a:gd name="connsiteX4" fmla="*/ 992268 w 1285289"/>
                  <a:gd name="connsiteY4" fmla="*/ 1029371 h 1236070"/>
                  <a:gd name="connsiteX5" fmla="*/ 1007991 w 1285289"/>
                  <a:gd name="connsiteY5" fmla="*/ 1012978 h 1236070"/>
                  <a:gd name="connsiteX6" fmla="*/ 1115908 w 1285289"/>
                  <a:gd name="connsiteY6" fmla="*/ 1010127 h 1236070"/>
                  <a:gd name="connsiteX7" fmla="*/ 1118052 w 1285289"/>
                  <a:gd name="connsiteY7" fmla="*/ 1010127 h 1236070"/>
                  <a:gd name="connsiteX8" fmla="*/ 1118767 w 1285289"/>
                  <a:gd name="connsiteY8" fmla="*/ 1010127 h 1236070"/>
                  <a:gd name="connsiteX9" fmla="*/ 1120911 w 1285289"/>
                  <a:gd name="connsiteY9" fmla="*/ 1010840 h 1236070"/>
                  <a:gd name="connsiteX10" fmla="*/ 1121626 w 1285289"/>
                  <a:gd name="connsiteY10" fmla="*/ 1010840 h 1236070"/>
                  <a:gd name="connsiteX11" fmla="*/ 1123770 w 1285289"/>
                  <a:gd name="connsiteY11" fmla="*/ 1012265 h 1236070"/>
                  <a:gd name="connsiteX12" fmla="*/ 1124484 w 1285289"/>
                  <a:gd name="connsiteY12" fmla="*/ 1012265 h 1236070"/>
                  <a:gd name="connsiteX13" fmla="*/ 1126628 w 1285289"/>
                  <a:gd name="connsiteY13" fmla="*/ 1013691 h 1236070"/>
                  <a:gd name="connsiteX14" fmla="*/ 1127343 w 1285289"/>
                  <a:gd name="connsiteY14" fmla="*/ 1014403 h 1236070"/>
                  <a:gd name="connsiteX15" fmla="*/ 1128772 w 1285289"/>
                  <a:gd name="connsiteY15" fmla="*/ 1015829 h 1236070"/>
                  <a:gd name="connsiteX16" fmla="*/ 1128772 w 1285289"/>
                  <a:gd name="connsiteY16" fmla="*/ 1016542 h 1236070"/>
                  <a:gd name="connsiteX17" fmla="*/ 1130202 w 1285289"/>
                  <a:gd name="connsiteY17" fmla="*/ 1018680 h 1236070"/>
                  <a:gd name="connsiteX18" fmla="*/ 1130202 w 1285289"/>
                  <a:gd name="connsiteY18" fmla="*/ 1019393 h 1236070"/>
                  <a:gd name="connsiteX19" fmla="*/ 1131631 w 1285289"/>
                  <a:gd name="connsiteY19" fmla="*/ 1021531 h 1236070"/>
                  <a:gd name="connsiteX20" fmla="*/ 1131631 w 1285289"/>
                  <a:gd name="connsiteY20" fmla="*/ 1022244 h 1236070"/>
                  <a:gd name="connsiteX21" fmla="*/ 1131631 w 1285289"/>
                  <a:gd name="connsiteY21" fmla="*/ 1024382 h 1236070"/>
                  <a:gd name="connsiteX22" fmla="*/ 1131631 w 1285289"/>
                  <a:gd name="connsiteY22" fmla="*/ 1025095 h 1236070"/>
                  <a:gd name="connsiteX23" fmla="*/ 1131631 w 1285289"/>
                  <a:gd name="connsiteY23" fmla="*/ 1026520 h 1236070"/>
                  <a:gd name="connsiteX24" fmla="*/ 1126628 w 1285289"/>
                  <a:gd name="connsiteY24" fmla="*/ 1132008 h 1236070"/>
                  <a:gd name="connsiteX25" fmla="*/ 1110905 w 1285289"/>
                  <a:gd name="connsiteY25" fmla="*/ 1147689 h 1236070"/>
                  <a:gd name="connsiteX26" fmla="*/ 1110191 w 1285289"/>
                  <a:gd name="connsiteY26" fmla="*/ 1147689 h 1236070"/>
                  <a:gd name="connsiteX27" fmla="*/ 1095182 w 1285289"/>
                  <a:gd name="connsiteY27" fmla="*/ 1130582 h 1236070"/>
                  <a:gd name="connsiteX28" fmla="*/ 1098041 w 1285289"/>
                  <a:gd name="connsiteY28" fmla="*/ 1066434 h 1236070"/>
                  <a:gd name="connsiteX29" fmla="*/ 905077 w 1285289"/>
                  <a:gd name="connsiteY29" fmla="*/ 1192592 h 1236070"/>
                  <a:gd name="connsiteX30" fmla="*/ 679952 w 1285289"/>
                  <a:gd name="connsiteY30" fmla="*/ 1236070 h 1236070"/>
                  <a:gd name="connsiteX31" fmla="*/ 627780 w 1285289"/>
                  <a:gd name="connsiteY31" fmla="*/ 1233932 h 1236070"/>
                  <a:gd name="connsiteX32" fmla="*/ 361918 w 1285289"/>
                  <a:gd name="connsiteY32" fmla="*/ 1146263 h 1236070"/>
                  <a:gd name="connsiteX33" fmla="*/ 206118 w 1285289"/>
                  <a:gd name="connsiteY33" fmla="*/ 1007988 h 1236070"/>
                  <a:gd name="connsiteX34" fmla="*/ 233276 w 1285289"/>
                  <a:gd name="connsiteY34" fmla="*/ 991595 h 1236070"/>
                  <a:gd name="connsiteX35" fmla="*/ 520755 w 1285289"/>
                  <a:gd name="connsiteY35" fmla="*/ 47032 h 1236070"/>
                  <a:gd name="connsiteX36" fmla="*/ 520755 w 1285289"/>
                  <a:gd name="connsiteY36" fmla="*/ 49891 h 1236070"/>
                  <a:gd name="connsiteX37" fmla="*/ 523619 w 1285289"/>
                  <a:gd name="connsiteY37" fmla="*/ 78479 h 1236070"/>
                  <a:gd name="connsiteX38" fmla="*/ 108403 w 1285289"/>
                  <a:gd name="connsiteY38" fmla="*/ 563049 h 1236070"/>
                  <a:gd name="connsiteX39" fmla="*/ 106255 w 1285289"/>
                  <a:gd name="connsiteY39" fmla="*/ 678831 h 1236070"/>
                  <a:gd name="connsiteX40" fmla="*/ 147061 w 1285289"/>
                  <a:gd name="connsiteY40" fmla="*/ 624513 h 1236070"/>
                  <a:gd name="connsiteX41" fmla="*/ 169253 w 1285289"/>
                  <a:gd name="connsiteY41" fmla="*/ 620940 h 1236070"/>
                  <a:gd name="connsiteX42" fmla="*/ 172833 w 1285289"/>
                  <a:gd name="connsiteY42" fmla="*/ 643096 h 1236070"/>
                  <a:gd name="connsiteX43" fmla="*/ 108403 w 1285289"/>
                  <a:gd name="connsiteY43" fmla="*/ 728860 h 1236070"/>
                  <a:gd name="connsiteX44" fmla="*/ 107687 w 1285289"/>
                  <a:gd name="connsiteY44" fmla="*/ 729575 h 1236070"/>
                  <a:gd name="connsiteX45" fmla="*/ 106255 w 1285289"/>
                  <a:gd name="connsiteY45" fmla="*/ 731719 h 1236070"/>
                  <a:gd name="connsiteX46" fmla="*/ 105539 w 1285289"/>
                  <a:gd name="connsiteY46" fmla="*/ 731719 h 1236070"/>
                  <a:gd name="connsiteX47" fmla="*/ 104107 w 1285289"/>
                  <a:gd name="connsiteY47" fmla="*/ 733148 h 1236070"/>
                  <a:gd name="connsiteX48" fmla="*/ 102676 w 1285289"/>
                  <a:gd name="connsiteY48" fmla="*/ 733863 h 1236070"/>
                  <a:gd name="connsiteX49" fmla="*/ 101244 w 1285289"/>
                  <a:gd name="connsiteY49" fmla="*/ 734578 h 1236070"/>
                  <a:gd name="connsiteX50" fmla="*/ 98380 w 1285289"/>
                  <a:gd name="connsiteY50" fmla="*/ 735292 h 1236070"/>
                  <a:gd name="connsiteX51" fmla="*/ 97664 w 1285289"/>
                  <a:gd name="connsiteY51" fmla="*/ 735292 h 1236070"/>
                  <a:gd name="connsiteX52" fmla="*/ 96949 w 1285289"/>
                  <a:gd name="connsiteY52" fmla="*/ 735292 h 1236070"/>
                  <a:gd name="connsiteX53" fmla="*/ 96949 w 1285289"/>
                  <a:gd name="connsiteY53" fmla="*/ 736007 h 1236070"/>
                  <a:gd name="connsiteX54" fmla="*/ 95517 w 1285289"/>
                  <a:gd name="connsiteY54" fmla="*/ 736007 h 1236070"/>
                  <a:gd name="connsiteX55" fmla="*/ 92653 w 1285289"/>
                  <a:gd name="connsiteY55" fmla="*/ 735292 h 1236070"/>
                  <a:gd name="connsiteX56" fmla="*/ 89790 w 1285289"/>
                  <a:gd name="connsiteY56" fmla="*/ 734578 h 1236070"/>
                  <a:gd name="connsiteX57" fmla="*/ 87642 w 1285289"/>
                  <a:gd name="connsiteY57" fmla="*/ 733863 h 1236070"/>
                  <a:gd name="connsiteX58" fmla="*/ 85494 w 1285289"/>
                  <a:gd name="connsiteY58" fmla="*/ 732434 h 1236070"/>
                  <a:gd name="connsiteX59" fmla="*/ 84778 w 1285289"/>
                  <a:gd name="connsiteY59" fmla="*/ 731719 h 1236070"/>
                  <a:gd name="connsiteX60" fmla="*/ 5315 w 1285289"/>
                  <a:gd name="connsiteY60" fmla="*/ 660963 h 1236070"/>
                  <a:gd name="connsiteX61" fmla="*/ 3883 w 1285289"/>
                  <a:gd name="connsiteY61" fmla="*/ 638807 h 1236070"/>
                  <a:gd name="connsiteX62" fmla="*/ 26075 w 1285289"/>
                  <a:gd name="connsiteY62" fmla="*/ 637378 h 1236070"/>
                  <a:gd name="connsiteX63" fmla="*/ 74756 w 1285289"/>
                  <a:gd name="connsiteY63" fmla="*/ 680975 h 1236070"/>
                  <a:gd name="connsiteX64" fmla="*/ 76904 w 1285289"/>
                  <a:gd name="connsiteY64" fmla="*/ 559475 h 1236070"/>
                  <a:gd name="connsiteX65" fmla="*/ 520755 w 1285289"/>
                  <a:gd name="connsiteY65" fmla="*/ 47032 h 1236070"/>
                  <a:gd name="connsiteX66" fmla="*/ 932443 w 1285289"/>
                  <a:gd name="connsiteY66" fmla="*/ 1029 h 1236070"/>
                  <a:gd name="connsiteX67" fmla="*/ 941187 w 1285289"/>
                  <a:gd name="connsiteY67" fmla="*/ 9230 h 1236070"/>
                  <a:gd name="connsiteX68" fmla="*/ 933335 w 1285289"/>
                  <a:gd name="connsiteY68" fmla="*/ 29910 h 1236070"/>
                  <a:gd name="connsiteX69" fmla="*/ 874090 w 1285289"/>
                  <a:gd name="connsiteY69" fmla="*/ 57009 h 1236070"/>
                  <a:gd name="connsiteX70" fmla="*/ 1283809 w 1285289"/>
                  <a:gd name="connsiteY70" fmla="*/ 671716 h 1236070"/>
                  <a:gd name="connsiteX71" fmla="*/ 1270960 w 1285289"/>
                  <a:gd name="connsiteY71" fmla="*/ 762995 h 1236070"/>
                  <a:gd name="connsiteX72" fmla="*/ 1242409 w 1285289"/>
                  <a:gd name="connsiteY72" fmla="*/ 745880 h 1236070"/>
                  <a:gd name="connsiteX73" fmla="*/ 1252402 w 1285289"/>
                  <a:gd name="connsiteY73" fmla="*/ 669577 h 1236070"/>
                  <a:gd name="connsiteX74" fmla="*/ 862669 w 1285289"/>
                  <a:gd name="connsiteY74" fmla="*/ 86247 h 1236070"/>
                  <a:gd name="connsiteX75" fmla="*/ 896932 w 1285289"/>
                  <a:gd name="connsiteY75" fmla="*/ 146149 h 1236070"/>
                  <a:gd name="connsiteX76" fmla="*/ 890507 w 1285289"/>
                  <a:gd name="connsiteY76" fmla="*/ 167542 h 1236070"/>
                  <a:gd name="connsiteX77" fmla="*/ 882656 w 1285289"/>
                  <a:gd name="connsiteY77" fmla="*/ 169681 h 1236070"/>
                  <a:gd name="connsiteX78" fmla="*/ 869094 w 1285289"/>
                  <a:gd name="connsiteY78" fmla="*/ 161837 h 1236070"/>
                  <a:gd name="connsiteX79" fmla="*/ 815559 w 1285289"/>
                  <a:gd name="connsiteY79" fmla="*/ 67706 h 1236070"/>
                  <a:gd name="connsiteX80" fmla="*/ 815559 w 1285289"/>
                  <a:gd name="connsiteY80" fmla="*/ 66993 h 1236070"/>
                  <a:gd name="connsiteX81" fmla="*/ 815559 w 1285289"/>
                  <a:gd name="connsiteY81" fmla="*/ 66279 h 1236070"/>
                  <a:gd name="connsiteX82" fmla="*/ 814845 w 1285289"/>
                  <a:gd name="connsiteY82" fmla="*/ 65566 h 1236070"/>
                  <a:gd name="connsiteX83" fmla="*/ 814845 w 1285289"/>
                  <a:gd name="connsiteY83" fmla="*/ 64853 h 1236070"/>
                  <a:gd name="connsiteX84" fmla="*/ 814845 w 1285289"/>
                  <a:gd name="connsiteY84" fmla="*/ 64140 h 1236070"/>
                  <a:gd name="connsiteX85" fmla="*/ 814131 w 1285289"/>
                  <a:gd name="connsiteY85" fmla="*/ 63427 h 1236070"/>
                  <a:gd name="connsiteX86" fmla="*/ 814131 w 1285289"/>
                  <a:gd name="connsiteY86" fmla="*/ 62714 h 1236070"/>
                  <a:gd name="connsiteX87" fmla="*/ 814131 w 1285289"/>
                  <a:gd name="connsiteY87" fmla="*/ 62001 h 1236070"/>
                  <a:gd name="connsiteX88" fmla="*/ 814131 w 1285289"/>
                  <a:gd name="connsiteY88" fmla="*/ 61288 h 1236070"/>
                  <a:gd name="connsiteX89" fmla="*/ 814131 w 1285289"/>
                  <a:gd name="connsiteY89" fmla="*/ 60574 h 1236070"/>
                  <a:gd name="connsiteX90" fmla="*/ 814131 w 1285289"/>
                  <a:gd name="connsiteY90" fmla="*/ 59861 h 1236070"/>
                  <a:gd name="connsiteX91" fmla="*/ 814131 w 1285289"/>
                  <a:gd name="connsiteY91" fmla="*/ 58435 h 1236070"/>
                  <a:gd name="connsiteX92" fmla="*/ 814131 w 1285289"/>
                  <a:gd name="connsiteY92" fmla="*/ 57722 h 1236070"/>
                  <a:gd name="connsiteX93" fmla="*/ 814131 w 1285289"/>
                  <a:gd name="connsiteY93" fmla="*/ 57009 h 1236070"/>
                  <a:gd name="connsiteX94" fmla="*/ 814131 w 1285289"/>
                  <a:gd name="connsiteY94" fmla="*/ 56296 h 1236070"/>
                  <a:gd name="connsiteX95" fmla="*/ 814845 w 1285289"/>
                  <a:gd name="connsiteY95" fmla="*/ 55583 h 1236070"/>
                  <a:gd name="connsiteX96" fmla="*/ 814845 w 1285289"/>
                  <a:gd name="connsiteY96" fmla="*/ 54870 h 1236070"/>
                  <a:gd name="connsiteX97" fmla="*/ 815559 w 1285289"/>
                  <a:gd name="connsiteY97" fmla="*/ 52017 h 1236070"/>
                  <a:gd name="connsiteX98" fmla="*/ 816273 w 1285289"/>
                  <a:gd name="connsiteY98" fmla="*/ 52017 h 1236070"/>
                  <a:gd name="connsiteX99" fmla="*/ 817700 w 1285289"/>
                  <a:gd name="connsiteY99" fmla="*/ 49878 h 1236070"/>
                  <a:gd name="connsiteX100" fmla="*/ 819842 w 1285289"/>
                  <a:gd name="connsiteY100" fmla="*/ 47738 h 1236070"/>
                  <a:gd name="connsiteX101" fmla="*/ 820555 w 1285289"/>
                  <a:gd name="connsiteY101" fmla="*/ 47738 h 1236070"/>
                  <a:gd name="connsiteX102" fmla="*/ 822697 w 1285289"/>
                  <a:gd name="connsiteY102" fmla="*/ 45599 h 1236070"/>
                  <a:gd name="connsiteX103" fmla="*/ 920487 w 1285289"/>
                  <a:gd name="connsiteY103" fmla="*/ 1386 h 1236070"/>
                  <a:gd name="connsiteX104" fmla="*/ 932443 w 1285289"/>
                  <a:gd name="connsiteY104" fmla="*/ 1029 h 1236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285289" h="1236070">
                    <a:moveTo>
                      <a:pt x="233276" y="991595"/>
                    </a:moveTo>
                    <a:cubicBezTo>
                      <a:pt x="331187" y="1112763"/>
                      <a:pt x="472694" y="1189741"/>
                      <a:pt x="630639" y="1202571"/>
                    </a:cubicBezTo>
                    <a:cubicBezTo>
                      <a:pt x="797874" y="1216826"/>
                      <a:pt x="958678" y="1159093"/>
                      <a:pt x="1078030" y="1042201"/>
                    </a:cubicBezTo>
                    <a:cubicBezTo>
                      <a:pt x="1078030" y="1042201"/>
                      <a:pt x="1078030" y="1042201"/>
                      <a:pt x="1008706" y="1044339"/>
                    </a:cubicBezTo>
                    <a:cubicBezTo>
                      <a:pt x="1000130" y="1045052"/>
                      <a:pt x="992983" y="1037924"/>
                      <a:pt x="992268" y="1029371"/>
                    </a:cubicBezTo>
                    <a:cubicBezTo>
                      <a:pt x="992268" y="1020818"/>
                      <a:pt x="999415" y="1013691"/>
                      <a:pt x="1007991" y="1012978"/>
                    </a:cubicBezTo>
                    <a:cubicBezTo>
                      <a:pt x="1007991" y="1012978"/>
                      <a:pt x="1007991" y="1012978"/>
                      <a:pt x="1115908" y="1010127"/>
                    </a:cubicBezTo>
                    <a:cubicBezTo>
                      <a:pt x="1116623" y="1010127"/>
                      <a:pt x="1117338" y="1010127"/>
                      <a:pt x="1118052" y="1010127"/>
                    </a:cubicBezTo>
                    <a:cubicBezTo>
                      <a:pt x="1118052" y="1010127"/>
                      <a:pt x="1118052" y="1010127"/>
                      <a:pt x="1118767" y="1010127"/>
                    </a:cubicBezTo>
                    <a:cubicBezTo>
                      <a:pt x="1119482" y="1010127"/>
                      <a:pt x="1120196" y="1010127"/>
                      <a:pt x="1120911" y="1010840"/>
                    </a:cubicBezTo>
                    <a:cubicBezTo>
                      <a:pt x="1120911" y="1010840"/>
                      <a:pt x="1120911" y="1010840"/>
                      <a:pt x="1121626" y="1010840"/>
                    </a:cubicBezTo>
                    <a:cubicBezTo>
                      <a:pt x="1122340" y="1010840"/>
                      <a:pt x="1123055" y="1011552"/>
                      <a:pt x="1123770" y="1012265"/>
                    </a:cubicBezTo>
                    <a:cubicBezTo>
                      <a:pt x="1123770" y="1012265"/>
                      <a:pt x="1123770" y="1012265"/>
                      <a:pt x="1124484" y="1012265"/>
                    </a:cubicBezTo>
                    <a:cubicBezTo>
                      <a:pt x="1125199" y="1012265"/>
                      <a:pt x="1125914" y="1012978"/>
                      <a:pt x="1126628" y="1013691"/>
                    </a:cubicBezTo>
                    <a:cubicBezTo>
                      <a:pt x="1126628" y="1014403"/>
                      <a:pt x="1127343" y="1014403"/>
                      <a:pt x="1127343" y="1014403"/>
                    </a:cubicBezTo>
                    <a:cubicBezTo>
                      <a:pt x="1128058" y="1015116"/>
                      <a:pt x="1128058" y="1015829"/>
                      <a:pt x="1128772" y="1015829"/>
                    </a:cubicBezTo>
                    <a:cubicBezTo>
                      <a:pt x="1128772" y="1016542"/>
                      <a:pt x="1128772" y="1016542"/>
                      <a:pt x="1128772" y="1016542"/>
                    </a:cubicBezTo>
                    <a:cubicBezTo>
                      <a:pt x="1129487" y="1017254"/>
                      <a:pt x="1130202" y="1017967"/>
                      <a:pt x="1130202" y="1018680"/>
                    </a:cubicBezTo>
                    <a:cubicBezTo>
                      <a:pt x="1130202" y="1018680"/>
                      <a:pt x="1130202" y="1018680"/>
                      <a:pt x="1130202" y="1019393"/>
                    </a:cubicBezTo>
                    <a:cubicBezTo>
                      <a:pt x="1130917" y="1020105"/>
                      <a:pt x="1130917" y="1020818"/>
                      <a:pt x="1131631" y="1021531"/>
                    </a:cubicBezTo>
                    <a:cubicBezTo>
                      <a:pt x="1131631" y="1021531"/>
                      <a:pt x="1131631" y="1021531"/>
                      <a:pt x="1131631" y="1022244"/>
                    </a:cubicBezTo>
                    <a:cubicBezTo>
                      <a:pt x="1131631" y="1022956"/>
                      <a:pt x="1131631" y="1023669"/>
                      <a:pt x="1131631" y="1024382"/>
                    </a:cubicBezTo>
                    <a:cubicBezTo>
                      <a:pt x="1131631" y="1024382"/>
                      <a:pt x="1131631" y="1024382"/>
                      <a:pt x="1131631" y="1025095"/>
                    </a:cubicBezTo>
                    <a:cubicBezTo>
                      <a:pt x="1131631" y="1025095"/>
                      <a:pt x="1131631" y="1025807"/>
                      <a:pt x="1131631" y="1026520"/>
                    </a:cubicBezTo>
                    <a:cubicBezTo>
                      <a:pt x="1131631" y="1026520"/>
                      <a:pt x="1131631" y="1026520"/>
                      <a:pt x="1126628" y="1132008"/>
                    </a:cubicBezTo>
                    <a:cubicBezTo>
                      <a:pt x="1125914" y="1140561"/>
                      <a:pt x="1118767" y="1147689"/>
                      <a:pt x="1110905" y="1147689"/>
                    </a:cubicBezTo>
                    <a:cubicBezTo>
                      <a:pt x="1110191" y="1147689"/>
                      <a:pt x="1110191" y="1147689"/>
                      <a:pt x="1110191" y="1147689"/>
                    </a:cubicBezTo>
                    <a:cubicBezTo>
                      <a:pt x="1100900" y="1147689"/>
                      <a:pt x="1094468" y="1139135"/>
                      <a:pt x="1095182" y="1130582"/>
                    </a:cubicBezTo>
                    <a:cubicBezTo>
                      <a:pt x="1095182" y="1130582"/>
                      <a:pt x="1095182" y="1130582"/>
                      <a:pt x="1098041" y="1066434"/>
                    </a:cubicBezTo>
                    <a:cubicBezTo>
                      <a:pt x="1042296" y="1119891"/>
                      <a:pt x="976545" y="1163369"/>
                      <a:pt x="905077" y="1192592"/>
                    </a:cubicBezTo>
                    <a:cubicBezTo>
                      <a:pt x="833609" y="1221815"/>
                      <a:pt x="757852" y="1236070"/>
                      <a:pt x="679952" y="1236070"/>
                    </a:cubicBezTo>
                    <a:cubicBezTo>
                      <a:pt x="662799" y="1236070"/>
                      <a:pt x="645647" y="1235357"/>
                      <a:pt x="627780" y="1233932"/>
                    </a:cubicBezTo>
                    <a:cubicBezTo>
                      <a:pt x="532013" y="1226092"/>
                      <a:pt x="441963" y="1196156"/>
                      <a:pt x="361918" y="1146263"/>
                    </a:cubicBezTo>
                    <a:cubicBezTo>
                      <a:pt x="302600" y="1109200"/>
                      <a:pt x="249713" y="1062158"/>
                      <a:pt x="206118" y="1007988"/>
                    </a:cubicBezTo>
                    <a:cubicBezTo>
                      <a:pt x="216123" y="1003712"/>
                      <a:pt x="224699" y="998010"/>
                      <a:pt x="233276" y="991595"/>
                    </a:cubicBezTo>
                    <a:close/>
                    <a:moveTo>
                      <a:pt x="520755" y="47032"/>
                    </a:moveTo>
                    <a:cubicBezTo>
                      <a:pt x="520755" y="47747"/>
                      <a:pt x="520755" y="49176"/>
                      <a:pt x="520755" y="49891"/>
                    </a:cubicBezTo>
                    <a:cubicBezTo>
                      <a:pt x="520755" y="59897"/>
                      <a:pt x="521471" y="69188"/>
                      <a:pt x="523619" y="78479"/>
                    </a:cubicBezTo>
                    <a:cubicBezTo>
                      <a:pt x="303841" y="139944"/>
                      <a:pt x="136322" y="329340"/>
                      <a:pt x="108403" y="563049"/>
                    </a:cubicBezTo>
                    <a:cubicBezTo>
                      <a:pt x="104107" y="601643"/>
                      <a:pt x="103392" y="640237"/>
                      <a:pt x="106255" y="678831"/>
                    </a:cubicBezTo>
                    <a:cubicBezTo>
                      <a:pt x="106255" y="678831"/>
                      <a:pt x="106255" y="678831"/>
                      <a:pt x="147061" y="624513"/>
                    </a:cubicBezTo>
                    <a:cubicBezTo>
                      <a:pt x="152788" y="617366"/>
                      <a:pt x="162094" y="615937"/>
                      <a:pt x="169253" y="620940"/>
                    </a:cubicBezTo>
                    <a:cubicBezTo>
                      <a:pt x="176412" y="625943"/>
                      <a:pt x="177844" y="635949"/>
                      <a:pt x="172833" y="643096"/>
                    </a:cubicBezTo>
                    <a:cubicBezTo>
                      <a:pt x="172833" y="643096"/>
                      <a:pt x="172833" y="643096"/>
                      <a:pt x="108403" y="728860"/>
                    </a:cubicBezTo>
                    <a:cubicBezTo>
                      <a:pt x="108403" y="728860"/>
                      <a:pt x="108403" y="728860"/>
                      <a:pt x="107687" y="729575"/>
                    </a:cubicBezTo>
                    <a:cubicBezTo>
                      <a:pt x="106971" y="730290"/>
                      <a:pt x="106255" y="731004"/>
                      <a:pt x="106255" y="731719"/>
                    </a:cubicBezTo>
                    <a:cubicBezTo>
                      <a:pt x="105539" y="731719"/>
                      <a:pt x="105539" y="731719"/>
                      <a:pt x="105539" y="731719"/>
                    </a:cubicBezTo>
                    <a:cubicBezTo>
                      <a:pt x="104823" y="732434"/>
                      <a:pt x="104107" y="733148"/>
                      <a:pt x="104107" y="733148"/>
                    </a:cubicBezTo>
                    <a:cubicBezTo>
                      <a:pt x="103392" y="733148"/>
                      <a:pt x="103392" y="733863"/>
                      <a:pt x="102676" y="733863"/>
                    </a:cubicBezTo>
                    <a:cubicBezTo>
                      <a:pt x="101960" y="733863"/>
                      <a:pt x="101960" y="734578"/>
                      <a:pt x="101244" y="734578"/>
                    </a:cubicBezTo>
                    <a:cubicBezTo>
                      <a:pt x="100528" y="734578"/>
                      <a:pt x="99096" y="735292"/>
                      <a:pt x="98380" y="735292"/>
                    </a:cubicBezTo>
                    <a:cubicBezTo>
                      <a:pt x="98380" y="735292"/>
                      <a:pt x="98380" y="735292"/>
                      <a:pt x="97664" y="735292"/>
                    </a:cubicBezTo>
                    <a:cubicBezTo>
                      <a:pt x="97664" y="735292"/>
                      <a:pt x="97664" y="735292"/>
                      <a:pt x="96949" y="735292"/>
                    </a:cubicBezTo>
                    <a:cubicBezTo>
                      <a:pt x="96949" y="735292"/>
                      <a:pt x="96949" y="735292"/>
                      <a:pt x="96949" y="736007"/>
                    </a:cubicBezTo>
                    <a:cubicBezTo>
                      <a:pt x="96233" y="736007"/>
                      <a:pt x="96233" y="736007"/>
                      <a:pt x="95517" y="736007"/>
                    </a:cubicBezTo>
                    <a:cubicBezTo>
                      <a:pt x="94085" y="736007"/>
                      <a:pt x="93369" y="736007"/>
                      <a:pt x="92653" y="735292"/>
                    </a:cubicBezTo>
                    <a:cubicBezTo>
                      <a:pt x="91937" y="735292"/>
                      <a:pt x="90506" y="735292"/>
                      <a:pt x="89790" y="734578"/>
                    </a:cubicBezTo>
                    <a:cubicBezTo>
                      <a:pt x="89074" y="734578"/>
                      <a:pt x="88358" y="734578"/>
                      <a:pt x="87642" y="733863"/>
                    </a:cubicBezTo>
                    <a:cubicBezTo>
                      <a:pt x="86926" y="733148"/>
                      <a:pt x="86210" y="733148"/>
                      <a:pt x="85494" y="732434"/>
                    </a:cubicBezTo>
                    <a:cubicBezTo>
                      <a:pt x="85494" y="732434"/>
                      <a:pt x="84778" y="732434"/>
                      <a:pt x="84778" y="731719"/>
                    </a:cubicBezTo>
                    <a:cubicBezTo>
                      <a:pt x="84778" y="731719"/>
                      <a:pt x="84778" y="731719"/>
                      <a:pt x="5315" y="660963"/>
                    </a:cubicBezTo>
                    <a:cubicBezTo>
                      <a:pt x="-1128" y="655246"/>
                      <a:pt x="-1844" y="645954"/>
                      <a:pt x="3883" y="638807"/>
                    </a:cubicBezTo>
                    <a:cubicBezTo>
                      <a:pt x="9610" y="632375"/>
                      <a:pt x="19632" y="631660"/>
                      <a:pt x="26075" y="637378"/>
                    </a:cubicBezTo>
                    <a:cubicBezTo>
                      <a:pt x="26075" y="637378"/>
                      <a:pt x="26075" y="637378"/>
                      <a:pt x="74756" y="680975"/>
                    </a:cubicBezTo>
                    <a:cubicBezTo>
                      <a:pt x="71176" y="640237"/>
                      <a:pt x="72608" y="599499"/>
                      <a:pt x="76904" y="559475"/>
                    </a:cubicBezTo>
                    <a:cubicBezTo>
                      <a:pt x="106971" y="310758"/>
                      <a:pt x="286659" y="109926"/>
                      <a:pt x="520755" y="47032"/>
                    </a:cubicBezTo>
                    <a:close/>
                    <a:moveTo>
                      <a:pt x="932443" y="1029"/>
                    </a:moveTo>
                    <a:cubicBezTo>
                      <a:pt x="936190" y="2455"/>
                      <a:pt x="939402" y="5308"/>
                      <a:pt x="941187" y="9230"/>
                    </a:cubicBezTo>
                    <a:cubicBezTo>
                      <a:pt x="944756" y="17074"/>
                      <a:pt x="941187" y="26345"/>
                      <a:pt x="933335" y="29910"/>
                    </a:cubicBezTo>
                    <a:cubicBezTo>
                      <a:pt x="933335" y="29910"/>
                      <a:pt x="933335" y="29910"/>
                      <a:pt x="874090" y="57009"/>
                    </a:cubicBezTo>
                    <a:cubicBezTo>
                      <a:pt x="1132484" y="144009"/>
                      <a:pt x="1303081" y="395740"/>
                      <a:pt x="1283809" y="671716"/>
                    </a:cubicBezTo>
                    <a:cubicBezTo>
                      <a:pt x="1281667" y="702380"/>
                      <a:pt x="1277385" y="733044"/>
                      <a:pt x="1270960" y="762995"/>
                    </a:cubicBezTo>
                    <a:cubicBezTo>
                      <a:pt x="1261681" y="755864"/>
                      <a:pt x="1252402" y="750159"/>
                      <a:pt x="1242409" y="745880"/>
                    </a:cubicBezTo>
                    <a:cubicBezTo>
                      <a:pt x="1247405" y="720921"/>
                      <a:pt x="1250974" y="695249"/>
                      <a:pt x="1252402" y="669577"/>
                    </a:cubicBezTo>
                    <a:cubicBezTo>
                      <a:pt x="1270960" y="407150"/>
                      <a:pt x="1108215" y="168255"/>
                      <a:pt x="862669" y="86247"/>
                    </a:cubicBezTo>
                    <a:cubicBezTo>
                      <a:pt x="862669" y="86247"/>
                      <a:pt x="862669" y="86247"/>
                      <a:pt x="896932" y="146149"/>
                    </a:cubicBezTo>
                    <a:cubicBezTo>
                      <a:pt x="901214" y="153993"/>
                      <a:pt x="898359" y="163263"/>
                      <a:pt x="890507" y="167542"/>
                    </a:cubicBezTo>
                    <a:cubicBezTo>
                      <a:pt x="887652" y="168968"/>
                      <a:pt x="884797" y="169681"/>
                      <a:pt x="882656" y="169681"/>
                    </a:cubicBezTo>
                    <a:cubicBezTo>
                      <a:pt x="876945" y="169681"/>
                      <a:pt x="871949" y="166829"/>
                      <a:pt x="869094" y="161837"/>
                    </a:cubicBezTo>
                    <a:cubicBezTo>
                      <a:pt x="869094" y="161837"/>
                      <a:pt x="869094" y="161837"/>
                      <a:pt x="815559" y="67706"/>
                    </a:cubicBezTo>
                    <a:cubicBezTo>
                      <a:pt x="815559" y="67706"/>
                      <a:pt x="815559" y="67706"/>
                      <a:pt x="815559" y="66993"/>
                    </a:cubicBezTo>
                    <a:cubicBezTo>
                      <a:pt x="815559" y="66993"/>
                      <a:pt x="815559" y="66993"/>
                      <a:pt x="815559" y="66279"/>
                    </a:cubicBezTo>
                    <a:cubicBezTo>
                      <a:pt x="814845" y="66279"/>
                      <a:pt x="814845" y="66279"/>
                      <a:pt x="814845" y="65566"/>
                    </a:cubicBezTo>
                    <a:cubicBezTo>
                      <a:pt x="814845" y="65566"/>
                      <a:pt x="814845" y="65566"/>
                      <a:pt x="814845" y="64853"/>
                    </a:cubicBezTo>
                    <a:cubicBezTo>
                      <a:pt x="814845" y="64853"/>
                      <a:pt x="814845" y="64853"/>
                      <a:pt x="814845" y="64140"/>
                    </a:cubicBezTo>
                    <a:cubicBezTo>
                      <a:pt x="814131" y="64140"/>
                      <a:pt x="814131" y="63427"/>
                      <a:pt x="814131" y="63427"/>
                    </a:cubicBezTo>
                    <a:cubicBezTo>
                      <a:pt x="814131" y="63427"/>
                      <a:pt x="814131" y="63427"/>
                      <a:pt x="814131" y="62714"/>
                    </a:cubicBezTo>
                    <a:cubicBezTo>
                      <a:pt x="814131" y="62714"/>
                      <a:pt x="814131" y="62714"/>
                      <a:pt x="814131" y="62001"/>
                    </a:cubicBezTo>
                    <a:cubicBezTo>
                      <a:pt x="814131" y="62001"/>
                      <a:pt x="814131" y="62001"/>
                      <a:pt x="814131" y="61288"/>
                    </a:cubicBezTo>
                    <a:cubicBezTo>
                      <a:pt x="814131" y="61288"/>
                      <a:pt x="814131" y="61288"/>
                      <a:pt x="814131" y="60574"/>
                    </a:cubicBezTo>
                    <a:cubicBezTo>
                      <a:pt x="814131" y="59861"/>
                      <a:pt x="814131" y="59861"/>
                      <a:pt x="814131" y="59861"/>
                    </a:cubicBezTo>
                    <a:cubicBezTo>
                      <a:pt x="814131" y="59148"/>
                      <a:pt x="814131" y="59148"/>
                      <a:pt x="814131" y="58435"/>
                    </a:cubicBezTo>
                    <a:cubicBezTo>
                      <a:pt x="814131" y="58435"/>
                      <a:pt x="814131" y="58435"/>
                      <a:pt x="814131" y="57722"/>
                    </a:cubicBezTo>
                    <a:cubicBezTo>
                      <a:pt x="814131" y="57722"/>
                      <a:pt x="814131" y="57722"/>
                      <a:pt x="814131" y="57009"/>
                    </a:cubicBezTo>
                    <a:cubicBezTo>
                      <a:pt x="814131" y="57009"/>
                      <a:pt x="814131" y="57009"/>
                      <a:pt x="814131" y="56296"/>
                    </a:cubicBezTo>
                    <a:cubicBezTo>
                      <a:pt x="814131" y="55583"/>
                      <a:pt x="814845" y="55583"/>
                      <a:pt x="814845" y="55583"/>
                    </a:cubicBezTo>
                    <a:cubicBezTo>
                      <a:pt x="814845" y="55583"/>
                      <a:pt x="814845" y="55583"/>
                      <a:pt x="814845" y="54870"/>
                    </a:cubicBezTo>
                    <a:cubicBezTo>
                      <a:pt x="814845" y="54156"/>
                      <a:pt x="815559" y="53443"/>
                      <a:pt x="815559" y="52017"/>
                    </a:cubicBezTo>
                    <a:cubicBezTo>
                      <a:pt x="816273" y="52017"/>
                      <a:pt x="816273" y="52017"/>
                      <a:pt x="816273" y="52017"/>
                    </a:cubicBezTo>
                    <a:cubicBezTo>
                      <a:pt x="816273" y="51304"/>
                      <a:pt x="816986" y="50591"/>
                      <a:pt x="817700" y="49878"/>
                    </a:cubicBezTo>
                    <a:cubicBezTo>
                      <a:pt x="818414" y="49165"/>
                      <a:pt x="819128" y="48451"/>
                      <a:pt x="819842" y="47738"/>
                    </a:cubicBezTo>
                    <a:cubicBezTo>
                      <a:pt x="820555" y="47738"/>
                      <a:pt x="820555" y="47738"/>
                      <a:pt x="820555" y="47738"/>
                    </a:cubicBezTo>
                    <a:cubicBezTo>
                      <a:pt x="821269" y="47025"/>
                      <a:pt x="821983" y="46312"/>
                      <a:pt x="822697" y="45599"/>
                    </a:cubicBezTo>
                    <a:cubicBezTo>
                      <a:pt x="822697" y="45599"/>
                      <a:pt x="822697" y="45599"/>
                      <a:pt x="920487" y="1386"/>
                    </a:cubicBezTo>
                    <a:cubicBezTo>
                      <a:pt x="924413" y="-397"/>
                      <a:pt x="928696" y="-397"/>
                      <a:pt x="932443" y="10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2" name="Freeform 61"/>
              <p:cNvSpPr>
                <a:spLocks/>
              </p:cNvSpPr>
              <p:nvPr/>
            </p:nvSpPr>
            <p:spPr bwMode="auto">
              <a:xfrm>
                <a:off x="5468938" y="2692400"/>
                <a:ext cx="1257300" cy="1049338"/>
              </a:xfrm>
              <a:custGeom>
                <a:avLst/>
                <a:gdLst>
                  <a:gd name="connsiteX0" fmla="*/ 1202365 w 1257300"/>
                  <a:gd name="connsiteY0" fmla="*/ 890162 h 1049338"/>
                  <a:gd name="connsiteX1" fmla="*/ 1194553 w 1257300"/>
                  <a:gd name="connsiteY1" fmla="*/ 893290 h 1049338"/>
                  <a:gd name="connsiteX2" fmla="*/ 1188871 w 1257300"/>
                  <a:gd name="connsiteY2" fmla="*/ 899010 h 1049338"/>
                  <a:gd name="connsiteX3" fmla="*/ 1131345 w 1257300"/>
                  <a:gd name="connsiteY3" fmla="*/ 956209 h 1049338"/>
                  <a:gd name="connsiteX4" fmla="*/ 1099386 w 1257300"/>
                  <a:gd name="connsiteY4" fmla="*/ 929754 h 1049338"/>
                  <a:gd name="connsiteX5" fmla="*/ 1083761 w 1257300"/>
                  <a:gd name="connsiteY5" fmla="*/ 931184 h 1049338"/>
                  <a:gd name="connsiteX6" fmla="*/ 1085182 w 1257300"/>
                  <a:gd name="connsiteY6" fmla="*/ 947629 h 1049338"/>
                  <a:gd name="connsiteX7" fmla="*/ 1124953 w 1257300"/>
                  <a:gd name="connsiteY7" fmla="*/ 979803 h 1049338"/>
                  <a:gd name="connsiteX8" fmla="*/ 1132055 w 1257300"/>
                  <a:gd name="connsiteY8" fmla="*/ 982663 h 1049338"/>
                  <a:gd name="connsiteX9" fmla="*/ 1139157 w 1257300"/>
                  <a:gd name="connsiteY9" fmla="*/ 979088 h 1049338"/>
                  <a:gd name="connsiteX10" fmla="*/ 1210177 w 1257300"/>
                  <a:gd name="connsiteY10" fmla="*/ 909735 h 1049338"/>
                  <a:gd name="connsiteX11" fmla="*/ 1212308 w 1257300"/>
                  <a:gd name="connsiteY11" fmla="*/ 896150 h 1049338"/>
                  <a:gd name="connsiteX12" fmla="*/ 1210177 w 1257300"/>
                  <a:gd name="connsiteY12" fmla="*/ 894005 h 1049338"/>
                  <a:gd name="connsiteX13" fmla="*/ 1202365 w 1257300"/>
                  <a:gd name="connsiteY13" fmla="*/ 890162 h 1049338"/>
                  <a:gd name="connsiteX14" fmla="*/ 111919 w 1257300"/>
                  <a:gd name="connsiteY14" fmla="*/ 877406 h 1049338"/>
                  <a:gd name="connsiteX15" fmla="*/ 111210 w 1257300"/>
                  <a:gd name="connsiteY15" fmla="*/ 893816 h 1049338"/>
                  <a:gd name="connsiteX16" fmla="*/ 140963 w 1257300"/>
                  <a:gd name="connsiteY16" fmla="*/ 927350 h 1049338"/>
                  <a:gd name="connsiteX17" fmla="*/ 57372 w 1257300"/>
                  <a:gd name="connsiteY17" fmla="*/ 927350 h 1049338"/>
                  <a:gd name="connsiteX18" fmla="*/ 46037 w 1257300"/>
                  <a:gd name="connsiteY18" fmla="*/ 938766 h 1049338"/>
                  <a:gd name="connsiteX19" fmla="*/ 57372 w 1257300"/>
                  <a:gd name="connsiteY19" fmla="*/ 950181 h 1049338"/>
                  <a:gd name="connsiteX20" fmla="*/ 140255 w 1257300"/>
                  <a:gd name="connsiteY20" fmla="*/ 950181 h 1049338"/>
                  <a:gd name="connsiteX21" fmla="*/ 111210 w 1257300"/>
                  <a:gd name="connsiteY21" fmla="*/ 980861 h 1049338"/>
                  <a:gd name="connsiteX22" fmla="*/ 111919 w 1257300"/>
                  <a:gd name="connsiteY22" fmla="*/ 997271 h 1049338"/>
                  <a:gd name="connsiteX23" fmla="*/ 119711 w 1257300"/>
                  <a:gd name="connsiteY23" fmla="*/ 1000125 h 1049338"/>
                  <a:gd name="connsiteX24" fmla="*/ 128212 w 1257300"/>
                  <a:gd name="connsiteY24" fmla="*/ 996558 h 1049338"/>
                  <a:gd name="connsiteX25" fmla="*/ 174258 w 1257300"/>
                  <a:gd name="connsiteY25" fmla="*/ 946614 h 1049338"/>
                  <a:gd name="connsiteX26" fmla="*/ 174967 w 1257300"/>
                  <a:gd name="connsiteY26" fmla="*/ 946614 h 1049338"/>
                  <a:gd name="connsiteX27" fmla="*/ 175675 w 1257300"/>
                  <a:gd name="connsiteY27" fmla="*/ 945187 h 1049338"/>
                  <a:gd name="connsiteX28" fmla="*/ 176383 w 1257300"/>
                  <a:gd name="connsiteY28" fmla="*/ 944473 h 1049338"/>
                  <a:gd name="connsiteX29" fmla="*/ 176383 w 1257300"/>
                  <a:gd name="connsiteY29" fmla="*/ 943760 h 1049338"/>
                  <a:gd name="connsiteX30" fmla="*/ 177092 w 1257300"/>
                  <a:gd name="connsiteY30" fmla="*/ 943046 h 1049338"/>
                  <a:gd name="connsiteX31" fmla="*/ 177092 w 1257300"/>
                  <a:gd name="connsiteY31" fmla="*/ 942333 h 1049338"/>
                  <a:gd name="connsiteX32" fmla="*/ 177092 w 1257300"/>
                  <a:gd name="connsiteY32" fmla="*/ 940906 h 1049338"/>
                  <a:gd name="connsiteX33" fmla="*/ 177800 w 1257300"/>
                  <a:gd name="connsiteY33" fmla="*/ 940906 h 1049338"/>
                  <a:gd name="connsiteX34" fmla="*/ 177800 w 1257300"/>
                  <a:gd name="connsiteY34" fmla="*/ 938766 h 1049338"/>
                  <a:gd name="connsiteX35" fmla="*/ 177800 w 1257300"/>
                  <a:gd name="connsiteY35" fmla="*/ 938052 h 1049338"/>
                  <a:gd name="connsiteX36" fmla="*/ 177800 w 1257300"/>
                  <a:gd name="connsiteY36" fmla="*/ 936625 h 1049338"/>
                  <a:gd name="connsiteX37" fmla="*/ 177092 w 1257300"/>
                  <a:gd name="connsiteY37" fmla="*/ 935912 h 1049338"/>
                  <a:gd name="connsiteX38" fmla="*/ 177092 w 1257300"/>
                  <a:gd name="connsiteY38" fmla="*/ 934485 h 1049338"/>
                  <a:gd name="connsiteX39" fmla="*/ 176383 w 1257300"/>
                  <a:gd name="connsiteY39" fmla="*/ 934485 h 1049338"/>
                  <a:gd name="connsiteX40" fmla="*/ 175675 w 1257300"/>
                  <a:gd name="connsiteY40" fmla="*/ 932344 h 1049338"/>
                  <a:gd name="connsiteX41" fmla="*/ 174967 w 1257300"/>
                  <a:gd name="connsiteY41" fmla="*/ 930917 h 1049338"/>
                  <a:gd name="connsiteX42" fmla="*/ 128212 w 1257300"/>
                  <a:gd name="connsiteY42" fmla="*/ 878120 h 1049338"/>
                  <a:gd name="connsiteX43" fmla="*/ 111919 w 1257300"/>
                  <a:gd name="connsiteY43" fmla="*/ 877406 h 1049338"/>
                  <a:gd name="connsiteX44" fmla="*/ 1146614 w 1257300"/>
                  <a:gd name="connsiteY44" fmla="*/ 825500 h 1049338"/>
                  <a:gd name="connsiteX45" fmla="*/ 1197700 w 1257300"/>
                  <a:gd name="connsiteY45" fmla="*/ 838363 h 1049338"/>
                  <a:gd name="connsiteX46" fmla="*/ 1224662 w 1257300"/>
                  <a:gd name="connsiteY46" fmla="*/ 857658 h 1049338"/>
                  <a:gd name="connsiteX47" fmla="*/ 1257300 w 1257300"/>
                  <a:gd name="connsiteY47" fmla="*/ 936982 h 1049338"/>
                  <a:gd name="connsiteX48" fmla="*/ 1146614 w 1257300"/>
                  <a:gd name="connsiteY48" fmla="*/ 1047750 h 1049338"/>
                  <a:gd name="connsiteX49" fmla="*/ 1036637 w 1257300"/>
                  <a:gd name="connsiteY49" fmla="*/ 936268 h 1049338"/>
                  <a:gd name="connsiteX50" fmla="*/ 1146614 w 1257300"/>
                  <a:gd name="connsiteY50" fmla="*/ 825500 h 1049338"/>
                  <a:gd name="connsiteX51" fmla="*/ 111919 w 1257300"/>
                  <a:gd name="connsiteY51" fmla="*/ 825500 h 1049338"/>
                  <a:gd name="connsiteX52" fmla="*/ 223838 w 1257300"/>
                  <a:gd name="connsiteY52" fmla="*/ 937777 h 1049338"/>
                  <a:gd name="connsiteX53" fmla="*/ 179358 w 1257300"/>
                  <a:gd name="connsiteY53" fmla="*/ 1026454 h 1049338"/>
                  <a:gd name="connsiteX54" fmla="*/ 151378 w 1257300"/>
                  <a:gd name="connsiteY54" fmla="*/ 1042187 h 1049338"/>
                  <a:gd name="connsiteX55" fmla="*/ 111919 w 1257300"/>
                  <a:gd name="connsiteY55" fmla="*/ 1049338 h 1049338"/>
                  <a:gd name="connsiteX56" fmla="*/ 0 w 1257300"/>
                  <a:gd name="connsiteY56" fmla="*/ 937062 h 1049338"/>
                  <a:gd name="connsiteX57" fmla="*/ 111919 w 1257300"/>
                  <a:gd name="connsiteY57" fmla="*/ 825500 h 1049338"/>
                  <a:gd name="connsiteX58" fmla="*/ 582076 w 1257300"/>
                  <a:gd name="connsiteY58" fmla="*/ 64618 h 1049338"/>
                  <a:gd name="connsiteX59" fmla="*/ 582076 w 1257300"/>
                  <a:gd name="connsiteY59" fmla="*/ 81074 h 1049338"/>
                  <a:gd name="connsiteX60" fmla="*/ 590528 w 1257300"/>
                  <a:gd name="connsiteY60" fmla="*/ 89660 h 1049338"/>
                  <a:gd name="connsiteX61" fmla="*/ 611657 w 1257300"/>
                  <a:gd name="connsiteY61" fmla="*/ 111841 h 1049338"/>
                  <a:gd name="connsiteX62" fmla="*/ 603206 w 1257300"/>
                  <a:gd name="connsiteY62" fmla="*/ 120427 h 1049338"/>
                  <a:gd name="connsiteX63" fmla="*/ 582076 w 1257300"/>
                  <a:gd name="connsiteY63" fmla="*/ 142607 h 1049338"/>
                  <a:gd name="connsiteX64" fmla="*/ 582076 w 1257300"/>
                  <a:gd name="connsiteY64" fmla="*/ 159063 h 1049338"/>
                  <a:gd name="connsiteX65" fmla="*/ 589824 w 1257300"/>
                  <a:gd name="connsiteY65" fmla="*/ 161925 h 1049338"/>
                  <a:gd name="connsiteX66" fmla="*/ 598275 w 1257300"/>
                  <a:gd name="connsiteY66" fmla="*/ 159063 h 1049338"/>
                  <a:gd name="connsiteX67" fmla="*/ 627857 w 1257300"/>
                  <a:gd name="connsiteY67" fmla="*/ 128297 h 1049338"/>
                  <a:gd name="connsiteX68" fmla="*/ 657438 w 1257300"/>
                  <a:gd name="connsiteY68" fmla="*/ 159063 h 1049338"/>
                  <a:gd name="connsiteX69" fmla="*/ 665890 w 1257300"/>
                  <a:gd name="connsiteY69" fmla="*/ 161925 h 1049338"/>
                  <a:gd name="connsiteX70" fmla="*/ 673637 w 1257300"/>
                  <a:gd name="connsiteY70" fmla="*/ 159063 h 1049338"/>
                  <a:gd name="connsiteX71" fmla="*/ 673637 w 1257300"/>
                  <a:gd name="connsiteY71" fmla="*/ 142607 h 1049338"/>
                  <a:gd name="connsiteX72" fmla="*/ 644056 w 1257300"/>
                  <a:gd name="connsiteY72" fmla="*/ 111841 h 1049338"/>
                  <a:gd name="connsiteX73" fmla="*/ 673637 w 1257300"/>
                  <a:gd name="connsiteY73" fmla="*/ 81074 h 1049338"/>
                  <a:gd name="connsiteX74" fmla="*/ 673637 w 1257300"/>
                  <a:gd name="connsiteY74" fmla="*/ 64618 h 1049338"/>
                  <a:gd name="connsiteX75" fmla="*/ 657438 w 1257300"/>
                  <a:gd name="connsiteY75" fmla="*/ 64618 h 1049338"/>
                  <a:gd name="connsiteX76" fmla="*/ 627857 w 1257300"/>
                  <a:gd name="connsiteY76" fmla="*/ 95384 h 1049338"/>
                  <a:gd name="connsiteX77" fmla="*/ 598275 w 1257300"/>
                  <a:gd name="connsiteY77" fmla="*/ 64618 h 1049338"/>
                  <a:gd name="connsiteX78" fmla="*/ 582076 w 1257300"/>
                  <a:gd name="connsiteY78" fmla="*/ 64618 h 1049338"/>
                  <a:gd name="connsiteX79" fmla="*/ 627856 w 1257300"/>
                  <a:gd name="connsiteY79" fmla="*/ 0 h 1049338"/>
                  <a:gd name="connsiteX80" fmla="*/ 739775 w 1257300"/>
                  <a:gd name="connsiteY80" fmla="*/ 111562 h 1049338"/>
                  <a:gd name="connsiteX81" fmla="*/ 627856 w 1257300"/>
                  <a:gd name="connsiteY81" fmla="*/ 223838 h 1049338"/>
                  <a:gd name="connsiteX82" fmla="*/ 518076 w 1257300"/>
                  <a:gd name="connsiteY82" fmla="*/ 133016 h 1049338"/>
                  <a:gd name="connsiteX83" fmla="*/ 515937 w 1257300"/>
                  <a:gd name="connsiteY83" fmla="*/ 110846 h 1049338"/>
                  <a:gd name="connsiteX84" fmla="*/ 516650 w 1257300"/>
                  <a:gd name="connsiteY84" fmla="*/ 100119 h 1049338"/>
                  <a:gd name="connsiteX85" fmla="*/ 627856 w 1257300"/>
                  <a:gd name="connsiteY85" fmla="*/ 0 h 104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257300" h="1049338">
                    <a:moveTo>
                      <a:pt x="1202365" y="890162"/>
                    </a:moveTo>
                    <a:cubicBezTo>
                      <a:pt x="1199524" y="890073"/>
                      <a:pt x="1196684" y="891145"/>
                      <a:pt x="1194553" y="893290"/>
                    </a:cubicBezTo>
                    <a:cubicBezTo>
                      <a:pt x="1194553" y="893290"/>
                      <a:pt x="1194553" y="893290"/>
                      <a:pt x="1188871" y="899010"/>
                    </a:cubicBezTo>
                    <a:cubicBezTo>
                      <a:pt x="1188871" y="899010"/>
                      <a:pt x="1188871" y="899010"/>
                      <a:pt x="1131345" y="956209"/>
                    </a:cubicBezTo>
                    <a:cubicBezTo>
                      <a:pt x="1131345" y="956209"/>
                      <a:pt x="1131345" y="956209"/>
                      <a:pt x="1099386" y="929754"/>
                    </a:cubicBezTo>
                    <a:cubicBezTo>
                      <a:pt x="1094414" y="925464"/>
                      <a:pt x="1087312" y="926179"/>
                      <a:pt x="1083761" y="931184"/>
                    </a:cubicBezTo>
                    <a:cubicBezTo>
                      <a:pt x="1079500" y="936189"/>
                      <a:pt x="1080210" y="943339"/>
                      <a:pt x="1085182" y="947629"/>
                    </a:cubicBezTo>
                    <a:cubicBezTo>
                      <a:pt x="1085182" y="947629"/>
                      <a:pt x="1085182" y="947629"/>
                      <a:pt x="1124953" y="979803"/>
                    </a:cubicBezTo>
                    <a:cubicBezTo>
                      <a:pt x="1127084" y="981233"/>
                      <a:pt x="1129214" y="982663"/>
                      <a:pt x="1132055" y="982663"/>
                    </a:cubicBezTo>
                    <a:cubicBezTo>
                      <a:pt x="1134186" y="982663"/>
                      <a:pt x="1137026" y="981233"/>
                      <a:pt x="1139157" y="979088"/>
                    </a:cubicBezTo>
                    <a:cubicBezTo>
                      <a:pt x="1139157" y="979088"/>
                      <a:pt x="1139157" y="979088"/>
                      <a:pt x="1210177" y="909735"/>
                    </a:cubicBezTo>
                    <a:cubicBezTo>
                      <a:pt x="1213728" y="906160"/>
                      <a:pt x="1214438" y="900440"/>
                      <a:pt x="1212308" y="896150"/>
                    </a:cubicBezTo>
                    <a:cubicBezTo>
                      <a:pt x="1211597" y="895435"/>
                      <a:pt x="1210887" y="894720"/>
                      <a:pt x="1210177" y="894005"/>
                    </a:cubicBezTo>
                    <a:cubicBezTo>
                      <a:pt x="1208047" y="891503"/>
                      <a:pt x="1205206" y="890251"/>
                      <a:pt x="1202365" y="890162"/>
                    </a:cubicBezTo>
                    <a:close/>
                    <a:moveTo>
                      <a:pt x="111919" y="877406"/>
                    </a:moveTo>
                    <a:cubicBezTo>
                      <a:pt x="107668" y="881687"/>
                      <a:pt x="106960" y="888822"/>
                      <a:pt x="111210" y="893816"/>
                    </a:cubicBezTo>
                    <a:cubicBezTo>
                      <a:pt x="111210" y="893816"/>
                      <a:pt x="111210" y="893816"/>
                      <a:pt x="140963" y="927350"/>
                    </a:cubicBezTo>
                    <a:cubicBezTo>
                      <a:pt x="140963" y="927350"/>
                      <a:pt x="140963" y="927350"/>
                      <a:pt x="57372" y="927350"/>
                    </a:cubicBezTo>
                    <a:cubicBezTo>
                      <a:pt x="50996" y="927350"/>
                      <a:pt x="46037" y="932344"/>
                      <a:pt x="46037" y="938766"/>
                    </a:cubicBezTo>
                    <a:cubicBezTo>
                      <a:pt x="46037" y="945187"/>
                      <a:pt x="50996" y="950181"/>
                      <a:pt x="57372" y="950181"/>
                    </a:cubicBezTo>
                    <a:cubicBezTo>
                      <a:pt x="57372" y="950181"/>
                      <a:pt x="57372" y="950181"/>
                      <a:pt x="140255" y="950181"/>
                    </a:cubicBezTo>
                    <a:cubicBezTo>
                      <a:pt x="140255" y="950181"/>
                      <a:pt x="140255" y="950181"/>
                      <a:pt x="111210" y="980861"/>
                    </a:cubicBezTo>
                    <a:cubicBezTo>
                      <a:pt x="106960" y="985142"/>
                      <a:pt x="106960" y="992990"/>
                      <a:pt x="111919" y="997271"/>
                    </a:cubicBezTo>
                    <a:cubicBezTo>
                      <a:pt x="114044" y="999412"/>
                      <a:pt x="116878" y="1000125"/>
                      <a:pt x="119711" y="1000125"/>
                    </a:cubicBezTo>
                    <a:cubicBezTo>
                      <a:pt x="122545" y="1000125"/>
                      <a:pt x="125378" y="998698"/>
                      <a:pt x="128212" y="996558"/>
                    </a:cubicBezTo>
                    <a:cubicBezTo>
                      <a:pt x="128212" y="996558"/>
                      <a:pt x="128212" y="996558"/>
                      <a:pt x="174258" y="946614"/>
                    </a:cubicBezTo>
                    <a:cubicBezTo>
                      <a:pt x="174967" y="946614"/>
                      <a:pt x="174967" y="946614"/>
                      <a:pt x="174967" y="946614"/>
                    </a:cubicBezTo>
                    <a:cubicBezTo>
                      <a:pt x="174967" y="945900"/>
                      <a:pt x="175675" y="945900"/>
                      <a:pt x="175675" y="945187"/>
                    </a:cubicBezTo>
                    <a:cubicBezTo>
                      <a:pt x="175675" y="945187"/>
                      <a:pt x="175675" y="945187"/>
                      <a:pt x="176383" y="944473"/>
                    </a:cubicBezTo>
                    <a:cubicBezTo>
                      <a:pt x="176383" y="944473"/>
                      <a:pt x="176383" y="944473"/>
                      <a:pt x="176383" y="943760"/>
                    </a:cubicBezTo>
                    <a:cubicBezTo>
                      <a:pt x="177092" y="943760"/>
                      <a:pt x="177092" y="943046"/>
                      <a:pt x="177092" y="943046"/>
                    </a:cubicBezTo>
                    <a:cubicBezTo>
                      <a:pt x="177092" y="943046"/>
                      <a:pt x="177092" y="943046"/>
                      <a:pt x="177092" y="942333"/>
                    </a:cubicBezTo>
                    <a:cubicBezTo>
                      <a:pt x="177092" y="942333"/>
                      <a:pt x="177092" y="941620"/>
                      <a:pt x="177092" y="940906"/>
                    </a:cubicBezTo>
                    <a:cubicBezTo>
                      <a:pt x="177800" y="940906"/>
                      <a:pt x="177800" y="940906"/>
                      <a:pt x="177800" y="940906"/>
                    </a:cubicBezTo>
                    <a:cubicBezTo>
                      <a:pt x="177800" y="940193"/>
                      <a:pt x="177800" y="939479"/>
                      <a:pt x="177800" y="938766"/>
                    </a:cubicBezTo>
                    <a:cubicBezTo>
                      <a:pt x="177800" y="938766"/>
                      <a:pt x="177800" y="938766"/>
                      <a:pt x="177800" y="938052"/>
                    </a:cubicBezTo>
                    <a:cubicBezTo>
                      <a:pt x="177800" y="938052"/>
                      <a:pt x="177800" y="937339"/>
                      <a:pt x="177800" y="936625"/>
                    </a:cubicBezTo>
                    <a:cubicBezTo>
                      <a:pt x="177092" y="936625"/>
                      <a:pt x="177092" y="936625"/>
                      <a:pt x="177092" y="935912"/>
                    </a:cubicBezTo>
                    <a:cubicBezTo>
                      <a:pt x="177092" y="935912"/>
                      <a:pt x="177092" y="935198"/>
                      <a:pt x="177092" y="934485"/>
                    </a:cubicBezTo>
                    <a:cubicBezTo>
                      <a:pt x="177092" y="934485"/>
                      <a:pt x="177092" y="934485"/>
                      <a:pt x="176383" y="934485"/>
                    </a:cubicBezTo>
                    <a:cubicBezTo>
                      <a:pt x="176383" y="933771"/>
                      <a:pt x="176383" y="933058"/>
                      <a:pt x="175675" y="932344"/>
                    </a:cubicBezTo>
                    <a:cubicBezTo>
                      <a:pt x="174967" y="931631"/>
                      <a:pt x="174967" y="931631"/>
                      <a:pt x="174967" y="930917"/>
                    </a:cubicBezTo>
                    <a:cubicBezTo>
                      <a:pt x="174967" y="930917"/>
                      <a:pt x="174967" y="930917"/>
                      <a:pt x="128212" y="878120"/>
                    </a:cubicBezTo>
                    <a:cubicBezTo>
                      <a:pt x="123962" y="873839"/>
                      <a:pt x="116878" y="873125"/>
                      <a:pt x="111919" y="877406"/>
                    </a:cubicBezTo>
                    <a:close/>
                    <a:moveTo>
                      <a:pt x="1146614" y="825500"/>
                    </a:moveTo>
                    <a:cubicBezTo>
                      <a:pt x="1165062" y="825500"/>
                      <a:pt x="1182800" y="829788"/>
                      <a:pt x="1197700" y="838363"/>
                    </a:cubicBezTo>
                    <a:cubicBezTo>
                      <a:pt x="1207633" y="843366"/>
                      <a:pt x="1216857" y="849798"/>
                      <a:pt x="1224662" y="857658"/>
                    </a:cubicBezTo>
                    <a:cubicBezTo>
                      <a:pt x="1245238" y="878383"/>
                      <a:pt x="1257300" y="906253"/>
                      <a:pt x="1257300" y="936982"/>
                    </a:cubicBezTo>
                    <a:cubicBezTo>
                      <a:pt x="1257300" y="997726"/>
                      <a:pt x="1207633" y="1047750"/>
                      <a:pt x="1146614" y="1047750"/>
                    </a:cubicBezTo>
                    <a:cubicBezTo>
                      <a:pt x="1086304" y="1047750"/>
                      <a:pt x="1036637" y="997726"/>
                      <a:pt x="1036637" y="936268"/>
                    </a:cubicBezTo>
                    <a:cubicBezTo>
                      <a:pt x="1036637" y="874810"/>
                      <a:pt x="1086304" y="825500"/>
                      <a:pt x="1146614" y="825500"/>
                    </a:cubicBezTo>
                    <a:close/>
                    <a:moveTo>
                      <a:pt x="111919" y="825500"/>
                    </a:moveTo>
                    <a:cubicBezTo>
                      <a:pt x="173618" y="825500"/>
                      <a:pt x="223838" y="875560"/>
                      <a:pt x="223838" y="937777"/>
                    </a:cubicBezTo>
                    <a:cubicBezTo>
                      <a:pt x="223838" y="974249"/>
                      <a:pt x="205903" y="1006430"/>
                      <a:pt x="179358" y="1026454"/>
                    </a:cubicBezTo>
                    <a:cubicBezTo>
                      <a:pt x="170748" y="1032890"/>
                      <a:pt x="161422" y="1037896"/>
                      <a:pt x="151378" y="1042187"/>
                    </a:cubicBezTo>
                    <a:cubicBezTo>
                      <a:pt x="139182" y="1046478"/>
                      <a:pt x="125550" y="1049338"/>
                      <a:pt x="111919" y="1049338"/>
                    </a:cubicBezTo>
                    <a:cubicBezTo>
                      <a:pt x="50220" y="1049338"/>
                      <a:pt x="0" y="999279"/>
                      <a:pt x="0" y="937062"/>
                    </a:cubicBezTo>
                    <a:cubicBezTo>
                      <a:pt x="0" y="874845"/>
                      <a:pt x="50220" y="825500"/>
                      <a:pt x="111919" y="825500"/>
                    </a:cubicBezTo>
                    <a:close/>
                    <a:moveTo>
                      <a:pt x="582076" y="64618"/>
                    </a:moveTo>
                    <a:cubicBezTo>
                      <a:pt x="577850" y="69627"/>
                      <a:pt x="577850" y="76781"/>
                      <a:pt x="582076" y="81074"/>
                    </a:cubicBezTo>
                    <a:cubicBezTo>
                      <a:pt x="582076" y="81074"/>
                      <a:pt x="582076" y="81074"/>
                      <a:pt x="590528" y="89660"/>
                    </a:cubicBezTo>
                    <a:cubicBezTo>
                      <a:pt x="590528" y="89660"/>
                      <a:pt x="590528" y="89660"/>
                      <a:pt x="611657" y="111841"/>
                    </a:cubicBezTo>
                    <a:cubicBezTo>
                      <a:pt x="611657" y="111841"/>
                      <a:pt x="611657" y="111841"/>
                      <a:pt x="603206" y="120427"/>
                    </a:cubicBezTo>
                    <a:cubicBezTo>
                      <a:pt x="603206" y="120427"/>
                      <a:pt x="603206" y="120427"/>
                      <a:pt x="582076" y="142607"/>
                    </a:cubicBezTo>
                    <a:cubicBezTo>
                      <a:pt x="577850" y="146900"/>
                      <a:pt x="577850" y="154055"/>
                      <a:pt x="582076" y="159063"/>
                    </a:cubicBezTo>
                    <a:cubicBezTo>
                      <a:pt x="584189" y="161210"/>
                      <a:pt x="587006" y="161925"/>
                      <a:pt x="589824" y="161925"/>
                    </a:cubicBezTo>
                    <a:cubicBezTo>
                      <a:pt x="592641" y="161925"/>
                      <a:pt x="595458" y="161210"/>
                      <a:pt x="598275" y="159063"/>
                    </a:cubicBezTo>
                    <a:cubicBezTo>
                      <a:pt x="598275" y="159063"/>
                      <a:pt x="598275" y="159063"/>
                      <a:pt x="627857" y="128297"/>
                    </a:cubicBezTo>
                    <a:cubicBezTo>
                      <a:pt x="627857" y="128297"/>
                      <a:pt x="627857" y="128297"/>
                      <a:pt x="657438" y="159063"/>
                    </a:cubicBezTo>
                    <a:cubicBezTo>
                      <a:pt x="660255" y="161210"/>
                      <a:pt x="663073" y="161925"/>
                      <a:pt x="665890" y="161925"/>
                    </a:cubicBezTo>
                    <a:cubicBezTo>
                      <a:pt x="668707" y="161925"/>
                      <a:pt x="671524" y="161210"/>
                      <a:pt x="673637" y="159063"/>
                    </a:cubicBezTo>
                    <a:cubicBezTo>
                      <a:pt x="677863" y="154055"/>
                      <a:pt x="677863" y="146900"/>
                      <a:pt x="673637" y="142607"/>
                    </a:cubicBezTo>
                    <a:cubicBezTo>
                      <a:pt x="673637" y="142607"/>
                      <a:pt x="673637" y="142607"/>
                      <a:pt x="644056" y="111841"/>
                    </a:cubicBezTo>
                    <a:cubicBezTo>
                      <a:pt x="644056" y="111841"/>
                      <a:pt x="644056" y="111841"/>
                      <a:pt x="673637" y="81074"/>
                    </a:cubicBezTo>
                    <a:cubicBezTo>
                      <a:pt x="677863" y="76781"/>
                      <a:pt x="677863" y="69627"/>
                      <a:pt x="673637" y="64618"/>
                    </a:cubicBezTo>
                    <a:cubicBezTo>
                      <a:pt x="669411" y="60325"/>
                      <a:pt x="662368" y="60325"/>
                      <a:pt x="657438" y="64618"/>
                    </a:cubicBezTo>
                    <a:cubicBezTo>
                      <a:pt x="657438" y="64618"/>
                      <a:pt x="657438" y="64618"/>
                      <a:pt x="627857" y="95384"/>
                    </a:cubicBezTo>
                    <a:cubicBezTo>
                      <a:pt x="627857" y="95384"/>
                      <a:pt x="627857" y="95384"/>
                      <a:pt x="598275" y="64618"/>
                    </a:cubicBezTo>
                    <a:cubicBezTo>
                      <a:pt x="593345" y="60325"/>
                      <a:pt x="586302" y="60325"/>
                      <a:pt x="582076" y="64618"/>
                    </a:cubicBezTo>
                    <a:close/>
                    <a:moveTo>
                      <a:pt x="627856" y="0"/>
                    </a:moveTo>
                    <a:cubicBezTo>
                      <a:pt x="689875" y="0"/>
                      <a:pt x="739775" y="50060"/>
                      <a:pt x="739775" y="111562"/>
                    </a:cubicBezTo>
                    <a:cubicBezTo>
                      <a:pt x="739775" y="173779"/>
                      <a:pt x="689875" y="223838"/>
                      <a:pt x="627856" y="223838"/>
                    </a:cubicBezTo>
                    <a:cubicBezTo>
                      <a:pt x="573679" y="223123"/>
                      <a:pt x="527343" y="184506"/>
                      <a:pt x="518076" y="133016"/>
                    </a:cubicBezTo>
                    <a:cubicBezTo>
                      <a:pt x="516650" y="125149"/>
                      <a:pt x="515937" y="117998"/>
                      <a:pt x="515937" y="110846"/>
                    </a:cubicBezTo>
                    <a:cubicBezTo>
                      <a:pt x="515937" y="107271"/>
                      <a:pt x="515937" y="103695"/>
                      <a:pt x="516650" y="100119"/>
                    </a:cubicBezTo>
                    <a:cubicBezTo>
                      <a:pt x="521640" y="43624"/>
                      <a:pt x="570115" y="0"/>
                      <a:pt x="62785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sp>
        <p:nvSpPr>
          <p:cNvPr id="63" name="Title 1"/>
          <p:cNvSpPr txBox="1">
            <a:spLocks/>
          </p:cNvSpPr>
          <p:nvPr/>
        </p:nvSpPr>
        <p:spPr>
          <a:xfrm>
            <a:off x="331695" y="775764"/>
            <a:ext cx="3236472" cy="707585"/>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3200" kern="1200" baseline="0">
                <a:solidFill>
                  <a:srgbClr val="FFFFFF"/>
                </a:solidFill>
                <a:latin typeface="+mj-lt"/>
                <a:ea typeface="+mj-ea"/>
                <a:cs typeface="+mj-cs"/>
                <a:sym typeface="Trebuchet MS" panose="020B0603020202020204" pitchFamily="34" charset="0"/>
              </a:defRPr>
            </a:lvl1pPr>
          </a:lstStyle>
          <a:p>
            <a:r>
              <a:rPr lang="en-US" dirty="0" smtClean="0"/>
              <a:t>Post training…</a:t>
            </a:r>
          </a:p>
        </p:txBody>
      </p:sp>
      <p:sp>
        <p:nvSpPr>
          <p:cNvPr id="45" name="Rectangle 44"/>
          <p:cNvSpPr/>
          <p:nvPr/>
        </p:nvSpPr>
        <p:spPr>
          <a:xfrm>
            <a:off x="4126512" y="3756655"/>
            <a:ext cx="1279517" cy="523220"/>
          </a:xfrm>
          <a:prstGeom prst="rect">
            <a:avLst/>
          </a:prstGeom>
        </p:spPr>
        <p:txBody>
          <a:bodyPr wrap="none">
            <a:spAutoFit/>
          </a:bodyPr>
          <a:lstStyle/>
          <a:p>
            <a:pPr algn="ctr" eaLnBrk="0" hangingPunct="0"/>
            <a:r>
              <a:rPr lang="en-US" sz="1400" dirty="0">
                <a:solidFill>
                  <a:srgbClr val="6E6F73"/>
                </a:solidFill>
                <a:sym typeface="Trebuchet MS" panose="020B0603020202020204" pitchFamily="34" charset="0"/>
              </a:rPr>
              <a:t>EDA and </a:t>
            </a:r>
            <a:endParaRPr lang="en-US" sz="1400" dirty="0" smtClean="0">
              <a:solidFill>
                <a:srgbClr val="6E6F73"/>
              </a:solidFill>
              <a:sym typeface="Trebuchet MS" panose="020B0603020202020204" pitchFamily="34" charset="0"/>
            </a:endParaRPr>
          </a:p>
          <a:p>
            <a:pPr algn="ctr" eaLnBrk="0" hangingPunct="0"/>
            <a:r>
              <a:rPr lang="en-US" sz="1400" dirty="0" smtClean="0">
                <a:solidFill>
                  <a:srgbClr val="6E6F73"/>
                </a:solidFill>
                <a:sym typeface="Trebuchet MS" panose="020B0603020202020204" pitchFamily="34" charset="0"/>
              </a:rPr>
              <a:t>Splitting </a:t>
            </a:r>
            <a:r>
              <a:rPr lang="en-US" sz="1400" dirty="0">
                <a:solidFill>
                  <a:srgbClr val="6E6F73"/>
                </a:solidFill>
                <a:sym typeface="Trebuchet MS" panose="020B0603020202020204" pitchFamily="34" charset="0"/>
              </a:rPr>
              <a:t>Data</a:t>
            </a:r>
          </a:p>
        </p:txBody>
      </p:sp>
      <p:sp>
        <p:nvSpPr>
          <p:cNvPr id="47" name="Rectangle 46"/>
          <p:cNvSpPr/>
          <p:nvPr/>
        </p:nvSpPr>
        <p:spPr>
          <a:xfrm>
            <a:off x="5714608" y="3756654"/>
            <a:ext cx="1242648" cy="523220"/>
          </a:xfrm>
          <a:prstGeom prst="rect">
            <a:avLst/>
          </a:prstGeom>
        </p:spPr>
        <p:txBody>
          <a:bodyPr wrap="none">
            <a:spAutoFit/>
          </a:bodyPr>
          <a:lstStyle/>
          <a:p>
            <a:pPr algn="ctr" eaLnBrk="0" hangingPunct="0"/>
            <a:r>
              <a:rPr lang="en-US" sz="1400" dirty="0" smtClean="0">
                <a:solidFill>
                  <a:srgbClr val="6E6F73"/>
                </a:solidFill>
                <a:sym typeface="Trebuchet MS" panose="020B0603020202020204" pitchFamily="34" charset="0"/>
              </a:rPr>
              <a:t>Modeling and</a:t>
            </a:r>
          </a:p>
          <a:p>
            <a:pPr algn="ctr" eaLnBrk="0" hangingPunct="0"/>
            <a:r>
              <a:rPr lang="en-US" sz="1400" dirty="0" smtClean="0">
                <a:solidFill>
                  <a:srgbClr val="6E6F73"/>
                </a:solidFill>
                <a:sym typeface="Trebuchet MS" panose="020B0603020202020204" pitchFamily="34" charset="0"/>
              </a:rPr>
              <a:t>evaluation</a:t>
            </a:r>
            <a:endParaRPr lang="en-US" sz="1400" dirty="0">
              <a:solidFill>
                <a:srgbClr val="6E6F73"/>
              </a:solidFill>
              <a:sym typeface="Trebuchet MS" panose="020B0603020202020204" pitchFamily="34" charset="0"/>
            </a:endParaRPr>
          </a:p>
        </p:txBody>
      </p:sp>
      <p:sp>
        <p:nvSpPr>
          <p:cNvPr id="48" name="Rectangle 47"/>
          <p:cNvSpPr/>
          <p:nvPr/>
        </p:nvSpPr>
        <p:spPr>
          <a:xfrm>
            <a:off x="7292589" y="3756654"/>
            <a:ext cx="1556836" cy="523220"/>
          </a:xfrm>
          <a:prstGeom prst="rect">
            <a:avLst/>
          </a:prstGeom>
        </p:spPr>
        <p:txBody>
          <a:bodyPr wrap="none">
            <a:spAutoFit/>
          </a:bodyPr>
          <a:lstStyle/>
          <a:p>
            <a:pPr algn="ctr" eaLnBrk="0" hangingPunct="0"/>
            <a:r>
              <a:rPr lang="en-US" sz="1400" dirty="0" smtClean="0">
                <a:solidFill>
                  <a:srgbClr val="6E6F73"/>
                </a:solidFill>
                <a:sym typeface="Trebuchet MS" panose="020B0603020202020204" pitchFamily="34" charset="0"/>
              </a:rPr>
              <a:t>Hyper parameter</a:t>
            </a:r>
          </a:p>
          <a:p>
            <a:pPr algn="ctr" eaLnBrk="0" hangingPunct="0"/>
            <a:r>
              <a:rPr lang="en-US" sz="1400" dirty="0" smtClean="0">
                <a:solidFill>
                  <a:srgbClr val="6E6F73"/>
                </a:solidFill>
                <a:sym typeface="Trebuchet MS" panose="020B0603020202020204" pitchFamily="34" charset="0"/>
              </a:rPr>
              <a:t> tuning</a:t>
            </a:r>
          </a:p>
        </p:txBody>
      </p:sp>
      <p:grpSp>
        <p:nvGrpSpPr>
          <p:cNvPr id="49" name="Group 48"/>
          <p:cNvGrpSpPr>
            <a:grpSpLocks noChangeAspect="1"/>
          </p:cNvGrpSpPr>
          <p:nvPr/>
        </p:nvGrpSpPr>
        <p:grpSpPr>
          <a:xfrm>
            <a:off x="5845033" y="2348297"/>
            <a:ext cx="972791" cy="973693"/>
            <a:chOff x="5273801" y="2606040"/>
            <a:chExt cx="1644396" cy="1645920"/>
          </a:xfrm>
        </p:grpSpPr>
        <p:sp>
          <p:nvSpPr>
            <p:cNvPr id="64" name="AutoShape 33">
              <a:extLst>
                <a:ext uri="{FF2B5EF4-FFF2-40B4-BE49-F238E27FC236}">
                  <a16:creationId xmlns:a16="http://schemas.microsoft.com/office/drawing/2014/main" xmlns="" id="{BEA87593-71B2-42B3-8D7D-5D8C76D3E4A3}"/>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5" name="Group 64"/>
            <p:cNvGrpSpPr/>
            <p:nvPr/>
          </p:nvGrpSpPr>
          <p:grpSpPr>
            <a:xfrm>
              <a:off x="5445632" y="2775204"/>
              <a:ext cx="1301877" cy="1306068"/>
              <a:chOff x="5445632" y="2775204"/>
              <a:chExt cx="1301877" cy="1306068"/>
            </a:xfrm>
          </p:grpSpPr>
          <p:sp>
            <p:nvSpPr>
              <p:cNvPr id="66" name="Freeform 35">
                <a:extLst>
                  <a:ext uri="{FF2B5EF4-FFF2-40B4-BE49-F238E27FC236}">
                    <a16:creationId xmlns:a16="http://schemas.microsoft.com/office/drawing/2014/main" xmlns="" id="{2C6EA767-80DA-4F8F-A48D-51770E3E0E1E}"/>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36">
                <a:extLst>
                  <a:ext uri="{FF2B5EF4-FFF2-40B4-BE49-F238E27FC236}">
                    <a16:creationId xmlns:a16="http://schemas.microsoft.com/office/drawing/2014/main" xmlns="" id="{AA7A02C6-8B66-4350-AA28-E953D47C6F8D}"/>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68" name="Rectangle 67"/>
          <p:cNvSpPr/>
          <p:nvPr/>
        </p:nvSpPr>
        <p:spPr>
          <a:xfrm>
            <a:off x="8886647" y="3785632"/>
            <a:ext cx="1616148" cy="307777"/>
          </a:xfrm>
          <a:prstGeom prst="rect">
            <a:avLst/>
          </a:prstGeom>
        </p:spPr>
        <p:txBody>
          <a:bodyPr wrap="none">
            <a:spAutoFit/>
          </a:bodyPr>
          <a:lstStyle/>
          <a:p>
            <a:pPr algn="ctr" eaLnBrk="0" hangingPunct="0"/>
            <a:r>
              <a:rPr lang="en-US" sz="1400" dirty="0" smtClean="0">
                <a:solidFill>
                  <a:srgbClr val="6E6F73"/>
                </a:solidFill>
                <a:sym typeface="Trebuchet MS" panose="020B0603020202020204" pitchFamily="34" charset="0"/>
              </a:rPr>
              <a:t>Model </a:t>
            </a:r>
            <a:r>
              <a:rPr lang="en-US" sz="1400" dirty="0" err="1" smtClean="0">
                <a:solidFill>
                  <a:srgbClr val="6E6F73"/>
                </a:solidFill>
                <a:sym typeface="Trebuchet MS" panose="020B0603020202020204" pitchFamily="34" charset="0"/>
              </a:rPr>
              <a:t>Ensembling</a:t>
            </a:r>
            <a:endParaRPr lang="en-US" sz="1400" dirty="0">
              <a:solidFill>
                <a:srgbClr val="6E6F73"/>
              </a:solidFill>
              <a:sym typeface="Trebuchet MS" panose="020B0603020202020204" pitchFamily="34" charset="0"/>
            </a:endParaRPr>
          </a:p>
        </p:txBody>
      </p:sp>
      <p:sp>
        <p:nvSpPr>
          <p:cNvPr id="69" name="Rectangle 68"/>
          <p:cNvSpPr/>
          <p:nvPr/>
        </p:nvSpPr>
        <p:spPr>
          <a:xfrm>
            <a:off x="10505243" y="3785632"/>
            <a:ext cx="1244250" cy="738664"/>
          </a:xfrm>
          <a:prstGeom prst="rect">
            <a:avLst/>
          </a:prstGeom>
        </p:spPr>
        <p:txBody>
          <a:bodyPr wrap="none">
            <a:spAutoFit/>
          </a:bodyPr>
          <a:lstStyle/>
          <a:p>
            <a:pPr algn="ctr" eaLnBrk="0" hangingPunct="0"/>
            <a:r>
              <a:rPr lang="en-US" sz="1400" dirty="0" smtClean="0">
                <a:solidFill>
                  <a:srgbClr val="6E6F73"/>
                </a:solidFill>
                <a:sym typeface="Trebuchet MS" panose="020B0603020202020204" pitchFamily="34" charset="0"/>
              </a:rPr>
              <a:t>White-boxing</a:t>
            </a:r>
          </a:p>
          <a:p>
            <a:pPr algn="ctr" eaLnBrk="0" hangingPunct="0"/>
            <a:r>
              <a:rPr lang="en-US" sz="1400" dirty="0" smtClean="0">
                <a:solidFill>
                  <a:srgbClr val="6E6F73"/>
                </a:solidFill>
                <a:sym typeface="Trebuchet MS" panose="020B0603020202020204" pitchFamily="34" charset="0"/>
              </a:rPr>
              <a:t>Black-box</a:t>
            </a:r>
          </a:p>
          <a:p>
            <a:pPr algn="ctr" eaLnBrk="0" hangingPunct="0"/>
            <a:r>
              <a:rPr lang="en-US" sz="1400" dirty="0" smtClean="0">
                <a:solidFill>
                  <a:srgbClr val="6E6F73"/>
                </a:solidFill>
                <a:sym typeface="Trebuchet MS" panose="020B0603020202020204" pitchFamily="34" charset="0"/>
              </a:rPr>
              <a:t>models</a:t>
            </a:r>
            <a:endParaRPr lang="en-US" sz="1400" dirty="0">
              <a:solidFill>
                <a:srgbClr val="6E6F73"/>
              </a:solidFill>
              <a:sym typeface="Trebuchet MS" panose="020B0603020202020204" pitchFamily="34" charset="0"/>
            </a:endParaRPr>
          </a:p>
        </p:txBody>
      </p:sp>
      <p:grpSp>
        <p:nvGrpSpPr>
          <p:cNvPr id="33" name="bcgBugs_ThumbsUp">
            <a:extLst>
              <a:ext uri="{FF2B5EF4-FFF2-40B4-BE49-F238E27FC236}">
                <a16:creationId xmlns="" xmlns:a16="http://schemas.microsoft.com/office/drawing/2014/main" id="{C36F140E-B85B-4CD8-BD9B-225814DC2F6F}"/>
              </a:ext>
            </a:extLst>
          </p:cNvPr>
          <p:cNvGrpSpPr>
            <a:grpSpLocks noChangeAspect="1"/>
          </p:cNvGrpSpPr>
          <p:nvPr/>
        </p:nvGrpSpPr>
        <p:grpSpPr bwMode="auto">
          <a:xfrm>
            <a:off x="331695" y="1483349"/>
            <a:ext cx="458094" cy="457200"/>
            <a:chOff x="2815" y="1137"/>
            <a:chExt cx="2050" cy="2046"/>
          </a:xfrm>
        </p:grpSpPr>
        <p:sp>
          <p:nvSpPr>
            <p:cNvPr id="34" name="AutoShape 3">
              <a:extLst>
                <a:ext uri="{FF2B5EF4-FFF2-40B4-BE49-F238E27FC236}">
                  <a16:creationId xmlns="" xmlns:a16="http://schemas.microsoft.com/office/drawing/2014/main" id="{CA764250-503B-4A17-AAF5-DB49A322B3D6}"/>
                </a:ext>
              </a:extLst>
            </p:cNvPr>
            <p:cNvSpPr>
              <a:spLocks noChangeAspect="1" noChangeArrowheads="1" noTextEdit="1"/>
            </p:cNvSpPr>
            <p:nvPr/>
          </p:nvSpPr>
          <p:spPr bwMode="auto">
            <a:xfrm>
              <a:off x="2815" y="1137"/>
              <a:ext cx="2050"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5">
              <a:extLst>
                <a:ext uri="{FF2B5EF4-FFF2-40B4-BE49-F238E27FC236}">
                  <a16:creationId xmlns="" xmlns:a16="http://schemas.microsoft.com/office/drawing/2014/main" id="{8265CDD3-9117-4747-A520-DA74DA864C97}"/>
                </a:ext>
              </a:extLst>
            </p:cNvPr>
            <p:cNvSpPr>
              <a:spLocks noEditPoints="1"/>
            </p:cNvSpPr>
            <p:nvPr/>
          </p:nvSpPr>
          <p:spPr bwMode="auto">
            <a:xfrm>
              <a:off x="2938" y="1260"/>
              <a:ext cx="1798" cy="1786"/>
            </a:xfrm>
            <a:custGeom>
              <a:avLst/>
              <a:gdLst>
                <a:gd name="T0" fmla="*/ 809 w 879"/>
                <a:gd name="T1" fmla="*/ 453 h 872"/>
                <a:gd name="T2" fmla="*/ 786 w 879"/>
                <a:gd name="T3" fmla="*/ 453 h 872"/>
                <a:gd name="T4" fmla="*/ 853 w 879"/>
                <a:gd name="T5" fmla="*/ 523 h 872"/>
                <a:gd name="T6" fmla="*/ 783 w 879"/>
                <a:gd name="T7" fmla="*/ 592 h 872"/>
                <a:gd name="T8" fmla="*/ 759 w 879"/>
                <a:gd name="T9" fmla="*/ 592 h 872"/>
                <a:gd name="T10" fmla="*/ 828 w 879"/>
                <a:gd name="T11" fmla="*/ 662 h 872"/>
                <a:gd name="T12" fmla="*/ 759 w 879"/>
                <a:gd name="T13" fmla="*/ 732 h 872"/>
                <a:gd name="T14" fmla="*/ 728 w 879"/>
                <a:gd name="T15" fmla="*/ 732 h 872"/>
                <a:gd name="T16" fmla="*/ 797 w 879"/>
                <a:gd name="T17" fmla="*/ 802 h 872"/>
                <a:gd name="T18" fmla="*/ 797 w 879"/>
                <a:gd name="T19" fmla="*/ 802 h 872"/>
                <a:gd name="T20" fmla="*/ 728 w 879"/>
                <a:gd name="T21" fmla="*/ 872 h 872"/>
                <a:gd name="T22" fmla="*/ 596 w 879"/>
                <a:gd name="T23" fmla="*/ 872 h 872"/>
                <a:gd name="T24" fmla="*/ 466 w 879"/>
                <a:gd name="T25" fmla="*/ 872 h 872"/>
                <a:gd name="T26" fmla="*/ 304 w 879"/>
                <a:gd name="T27" fmla="*/ 822 h 872"/>
                <a:gd name="T28" fmla="*/ 305 w 879"/>
                <a:gd name="T29" fmla="*/ 816 h 872"/>
                <a:gd name="T30" fmla="*/ 305 w 879"/>
                <a:gd name="T31" fmla="*/ 333 h 872"/>
                <a:gd name="T32" fmla="*/ 292 w 879"/>
                <a:gd name="T33" fmla="*/ 294 h 872"/>
                <a:gd name="T34" fmla="*/ 379 w 879"/>
                <a:gd name="T35" fmla="*/ 245 h 872"/>
                <a:gd name="T36" fmla="*/ 442 w 879"/>
                <a:gd name="T37" fmla="*/ 119 h 872"/>
                <a:gd name="T38" fmla="*/ 442 w 879"/>
                <a:gd name="T39" fmla="*/ 58 h 872"/>
                <a:gd name="T40" fmla="*/ 492 w 879"/>
                <a:gd name="T41" fmla="*/ 8 h 872"/>
                <a:gd name="T42" fmla="*/ 596 w 879"/>
                <a:gd name="T43" fmla="*/ 139 h 872"/>
                <a:gd name="T44" fmla="*/ 553 w 879"/>
                <a:gd name="T45" fmla="*/ 313 h 872"/>
                <a:gd name="T46" fmla="*/ 809 w 879"/>
                <a:gd name="T47" fmla="*/ 313 h 872"/>
                <a:gd name="T48" fmla="*/ 879 w 879"/>
                <a:gd name="T49" fmla="*/ 383 h 872"/>
                <a:gd name="T50" fmla="*/ 809 w 879"/>
                <a:gd name="T51" fmla="*/ 453 h 872"/>
                <a:gd name="T52" fmla="*/ 259 w 879"/>
                <a:gd name="T53" fmla="*/ 333 h 872"/>
                <a:gd name="T54" fmla="*/ 259 w 879"/>
                <a:gd name="T55" fmla="*/ 816 h 872"/>
                <a:gd name="T56" fmla="*/ 238 w 879"/>
                <a:gd name="T57" fmla="*/ 838 h 872"/>
                <a:gd name="T58" fmla="*/ 22 w 879"/>
                <a:gd name="T59" fmla="*/ 838 h 872"/>
                <a:gd name="T60" fmla="*/ 0 w 879"/>
                <a:gd name="T61" fmla="*/ 816 h 872"/>
                <a:gd name="T62" fmla="*/ 0 w 879"/>
                <a:gd name="T63" fmla="*/ 333 h 872"/>
                <a:gd name="T64" fmla="*/ 22 w 879"/>
                <a:gd name="T65" fmla="*/ 311 h 872"/>
                <a:gd name="T66" fmla="*/ 238 w 879"/>
                <a:gd name="T67" fmla="*/ 311 h 872"/>
                <a:gd name="T68" fmla="*/ 259 w 879"/>
                <a:gd name="T69" fmla="*/ 333 h 872"/>
                <a:gd name="T70" fmla="*/ 123 w 879"/>
                <a:gd name="T71" fmla="*/ 754 h 872"/>
                <a:gd name="T72" fmla="*/ 84 w 879"/>
                <a:gd name="T73" fmla="*/ 715 h 872"/>
                <a:gd name="T74" fmla="*/ 44 w 879"/>
                <a:gd name="T75" fmla="*/ 754 h 872"/>
                <a:gd name="T76" fmla="*/ 84 w 879"/>
                <a:gd name="T77" fmla="*/ 794 h 872"/>
                <a:gd name="T78" fmla="*/ 123 w 879"/>
                <a:gd name="T79" fmla="*/ 754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79" h="872">
                  <a:moveTo>
                    <a:pt x="809" y="453"/>
                  </a:moveTo>
                  <a:cubicBezTo>
                    <a:pt x="786" y="453"/>
                    <a:pt x="786" y="453"/>
                    <a:pt x="786" y="453"/>
                  </a:cubicBezTo>
                  <a:cubicBezTo>
                    <a:pt x="823" y="455"/>
                    <a:pt x="853" y="485"/>
                    <a:pt x="853" y="523"/>
                  </a:cubicBezTo>
                  <a:cubicBezTo>
                    <a:pt x="853" y="561"/>
                    <a:pt x="821" y="592"/>
                    <a:pt x="783" y="592"/>
                  </a:cubicBezTo>
                  <a:cubicBezTo>
                    <a:pt x="759" y="592"/>
                    <a:pt x="759" y="592"/>
                    <a:pt x="759" y="592"/>
                  </a:cubicBezTo>
                  <a:cubicBezTo>
                    <a:pt x="797" y="592"/>
                    <a:pt x="828" y="624"/>
                    <a:pt x="828" y="662"/>
                  </a:cubicBezTo>
                  <a:cubicBezTo>
                    <a:pt x="828" y="701"/>
                    <a:pt x="797" y="732"/>
                    <a:pt x="759" y="732"/>
                  </a:cubicBezTo>
                  <a:cubicBezTo>
                    <a:pt x="728" y="732"/>
                    <a:pt x="728" y="732"/>
                    <a:pt x="728" y="732"/>
                  </a:cubicBezTo>
                  <a:cubicBezTo>
                    <a:pt x="766" y="732"/>
                    <a:pt x="797" y="764"/>
                    <a:pt x="797" y="802"/>
                  </a:cubicBezTo>
                  <a:cubicBezTo>
                    <a:pt x="797" y="802"/>
                    <a:pt x="797" y="802"/>
                    <a:pt x="797" y="802"/>
                  </a:cubicBezTo>
                  <a:cubicBezTo>
                    <a:pt x="797" y="841"/>
                    <a:pt x="766" y="872"/>
                    <a:pt x="728" y="872"/>
                  </a:cubicBezTo>
                  <a:cubicBezTo>
                    <a:pt x="596" y="872"/>
                    <a:pt x="596" y="872"/>
                    <a:pt x="596" y="872"/>
                  </a:cubicBezTo>
                  <a:cubicBezTo>
                    <a:pt x="596" y="872"/>
                    <a:pt x="503" y="872"/>
                    <a:pt x="466" y="872"/>
                  </a:cubicBezTo>
                  <a:cubicBezTo>
                    <a:pt x="436" y="872"/>
                    <a:pt x="375" y="869"/>
                    <a:pt x="304" y="822"/>
                  </a:cubicBezTo>
                  <a:cubicBezTo>
                    <a:pt x="305" y="820"/>
                    <a:pt x="305" y="818"/>
                    <a:pt x="305" y="816"/>
                  </a:cubicBezTo>
                  <a:cubicBezTo>
                    <a:pt x="305" y="333"/>
                    <a:pt x="305" y="333"/>
                    <a:pt x="305" y="333"/>
                  </a:cubicBezTo>
                  <a:cubicBezTo>
                    <a:pt x="305" y="318"/>
                    <a:pt x="300" y="305"/>
                    <a:pt x="292" y="294"/>
                  </a:cubicBezTo>
                  <a:cubicBezTo>
                    <a:pt x="323" y="276"/>
                    <a:pt x="355" y="258"/>
                    <a:pt x="379" y="245"/>
                  </a:cubicBezTo>
                  <a:cubicBezTo>
                    <a:pt x="445" y="208"/>
                    <a:pt x="442" y="119"/>
                    <a:pt x="442" y="119"/>
                  </a:cubicBezTo>
                  <a:cubicBezTo>
                    <a:pt x="442" y="58"/>
                    <a:pt x="442" y="58"/>
                    <a:pt x="442" y="58"/>
                  </a:cubicBezTo>
                  <a:cubicBezTo>
                    <a:pt x="442" y="0"/>
                    <a:pt x="492" y="8"/>
                    <a:pt x="492" y="8"/>
                  </a:cubicBezTo>
                  <a:cubicBezTo>
                    <a:pt x="583" y="11"/>
                    <a:pt x="596" y="139"/>
                    <a:pt x="596" y="139"/>
                  </a:cubicBezTo>
                  <a:cubicBezTo>
                    <a:pt x="596" y="234"/>
                    <a:pt x="553" y="313"/>
                    <a:pt x="553" y="313"/>
                  </a:cubicBezTo>
                  <a:cubicBezTo>
                    <a:pt x="809" y="313"/>
                    <a:pt x="809" y="313"/>
                    <a:pt x="809" y="313"/>
                  </a:cubicBezTo>
                  <a:cubicBezTo>
                    <a:pt x="848" y="313"/>
                    <a:pt x="879" y="344"/>
                    <a:pt x="879" y="383"/>
                  </a:cubicBezTo>
                  <a:cubicBezTo>
                    <a:pt x="879" y="421"/>
                    <a:pt x="848" y="453"/>
                    <a:pt x="809" y="453"/>
                  </a:cubicBezTo>
                  <a:close/>
                  <a:moveTo>
                    <a:pt x="259" y="333"/>
                  </a:moveTo>
                  <a:cubicBezTo>
                    <a:pt x="259" y="816"/>
                    <a:pt x="259" y="816"/>
                    <a:pt x="259" y="816"/>
                  </a:cubicBezTo>
                  <a:cubicBezTo>
                    <a:pt x="259" y="828"/>
                    <a:pt x="249" y="838"/>
                    <a:pt x="238" y="838"/>
                  </a:cubicBezTo>
                  <a:cubicBezTo>
                    <a:pt x="22" y="838"/>
                    <a:pt x="22" y="838"/>
                    <a:pt x="22" y="838"/>
                  </a:cubicBezTo>
                  <a:cubicBezTo>
                    <a:pt x="10" y="838"/>
                    <a:pt x="0" y="828"/>
                    <a:pt x="0" y="816"/>
                  </a:cubicBezTo>
                  <a:cubicBezTo>
                    <a:pt x="0" y="333"/>
                    <a:pt x="0" y="333"/>
                    <a:pt x="0" y="333"/>
                  </a:cubicBezTo>
                  <a:cubicBezTo>
                    <a:pt x="0" y="321"/>
                    <a:pt x="10" y="311"/>
                    <a:pt x="22" y="311"/>
                  </a:cubicBezTo>
                  <a:cubicBezTo>
                    <a:pt x="238" y="311"/>
                    <a:pt x="238" y="311"/>
                    <a:pt x="238" y="311"/>
                  </a:cubicBezTo>
                  <a:cubicBezTo>
                    <a:pt x="249" y="311"/>
                    <a:pt x="259" y="321"/>
                    <a:pt x="259" y="333"/>
                  </a:cubicBezTo>
                  <a:close/>
                  <a:moveTo>
                    <a:pt x="123" y="754"/>
                  </a:moveTo>
                  <a:cubicBezTo>
                    <a:pt x="123" y="732"/>
                    <a:pt x="105" y="715"/>
                    <a:pt x="84" y="715"/>
                  </a:cubicBezTo>
                  <a:cubicBezTo>
                    <a:pt x="62" y="715"/>
                    <a:pt x="44" y="732"/>
                    <a:pt x="44" y="754"/>
                  </a:cubicBezTo>
                  <a:cubicBezTo>
                    <a:pt x="44" y="776"/>
                    <a:pt x="62" y="794"/>
                    <a:pt x="84" y="794"/>
                  </a:cubicBezTo>
                  <a:cubicBezTo>
                    <a:pt x="105" y="794"/>
                    <a:pt x="123" y="776"/>
                    <a:pt x="123" y="7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bcgIcons_AbstractionInHiddenLayers">
            <a:extLst>
              <a:ext uri="{FF2B5EF4-FFF2-40B4-BE49-F238E27FC236}">
                <a16:creationId xmlns="" xmlns:a16="http://schemas.microsoft.com/office/drawing/2014/main" id="{BB793821-A494-4E08-A522-973515524D96}"/>
              </a:ext>
            </a:extLst>
          </p:cNvPr>
          <p:cNvGrpSpPr>
            <a:grpSpLocks noChangeAspect="1"/>
          </p:cNvGrpSpPr>
          <p:nvPr/>
        </p:nvGrpSpPr>
        <p:grpSpPr bwMode="auto">
          <a:xfrm>
            <a:off x="10505243" y="2121947"/>
            <a:ext cx="1326815" cy="1328045"/>
            <a:chOff x="1682" y="0"/>
            <a:chExt cx="4316" cy="4320"/>
          </a:xfrm>
        </p:grpSpPr>
        <p:sp>
          <p:nvSpPr>
            <p:cNvPr id="37" name="AutoShape 30">
              <a:extLst>
                <a:ext uri="{FF2B5EF4-FFF2-40B4-BE49-F238E27FC236}">
                  <a16:creationId xmlns="" xmlns:a16="http://schemas.microsoft.com/office/drawing/2014/main" id="{6DA96174-ED01-482E-87E4-4374F4DA753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2">
              <a:extLst>
                <a:ext uri="{FF2B5EF4-FFF2-40B4-BE49-F238E27FC236}">
                  <a16:creationId xmlns="" xmlns:a16="http://schemas.microsoft.com/office/drawing/2014/main" id="{8B7C127B-D0BD-4D31-97F7-26B9D2574D96}"/>
                </a:ext>
              </a:extLst>
            </p:cNvPr>
            <p:cNvSpPr>
              <a:spLocks noEditPoints="1"/>
            </p:cNvSpPr>
            <p:nvPr/>
          </p:nvSpPr>
          <p:spPr bwMode="auto">
            <a:xfrm>
              <a:off x="2111" y="1136"/>
              <a:ext cx="2145" cy="2044"/>
            </a:xfrm>
            <a:custGeom>
              <a:avLst/>
              <a:gdLst>
                <a:gd name="T0" fmla="*/ 559 w 1145"/>
                <a:gd name="T1" fmla="*/ 1052 h 1090"/>
                <a:gd name="T2" fmla="*/ 559 w 1145"/>
                <a:gd name="T3" fmla="*/ 1084 h 1090"/>
                <a:gd name="T4" fmla="*/ 544 w 1145"/>
                <a:gd name="T5" fmla="*/ 1090 h 1090"/>
                <a:gd name="T6" fmla="*/ 528 w 1145"/>
                <a:gd name="T7" fmla="*/ 1084 h 1090"/>
                <a:gd name="T8" fmla="*/ 6 w 1145"/>
                <a:gd name="T9" fmla="*/ 562 h 1090"/>
                <a:gd name="T10" fmla="*/ 0 w 1145"/>
                <a:gd name="T11" fmla="*/ 546 h 1090"/>
                <a:gd name="T12" fmla="*/ 6 w 1145"/>
                <a:gd name="T13" fmla="*/ 530 h 1090"/>
                <a:gd name="T14" fmla="*/ 528 w 1145"/>
                <a:gd name="T15" fmla="*/ 8 h 1090"/>
                <a:gd name="T16" fmla="*/ 559 w 1145"/>
                <a:gd name="T17" fmla="*/ 8 h 1090"/>
                <a:gd name="T18" fmla="*/ 639 w 1145"/>
                <a:gd name="T19" fmla="*/ 88 h 1090"/>
                <a:gd name="T20" fmla="*/ 608 w 1145"/>
                <a:gd name="T21" fmla="*/ 119 h 1090"/>
                <a:gd name="T22" fmla="*/ 544 w 1145"/>
                <a:gd name="T23" fmla="*/ 55 h 1090"/>
                <a:gd name="T24" fmla="*/ 53 w 1145"/>
                <a:gd name="T25" fmla="*/ 546 h 1090"/>
                <a:gd name="T26" fmla="*/ 559 w 1145"/>
                <a:gd name="T27" fmla="*/ 1052 h 1090"/>
                <a:gd name="T28" fmla="*/ 306 w 1145"/>
                <a:gd name="T29" fmla="*/ 546 h 1090"/>
                <a:gd name="T30" fmla="*/ 797 w 1145"/>
                <a:gd name="T31" fmla="*/ 55 h 1090"/>
                <a:gd name="T32" fmla="*/ 861 w 1145"/>
                <a:gd name="T33" fmla="*/ 119 h 1090"/>
                <a:gd name="T34" fmla="*/ 892 w 1145"/>
                <a:gd name="T35" fmla="*/ 88 h 1090"/>
                <a:gd name="T36" fmla="*/ 812 w 1145"/>
                <a:gd name="T37" fmla="*/ 8 h 1090"/>
                <a:gd name="T38" fmla="*/ 781 w 1145"/>
                <a:gd name="T39" fmla="*/ 8 h 1090"/>
                <a:gd name="T40" fmla="*/ 259 w 1145"/>
                <a:gd name="T41" fmla="*/ 530 h 1090"/>
                <a:gd name="T42" fmla="*/ 259 w 1145"/>
                <a:gd name="T43" fmla="*/ 562 h 1090"/>
                <a:gd name="T44" fmla="*/ 781 w 1145"/>
                <a:gd name="T45" fmla="*/ 1084 h 1090"/>
                <a:gd name="T46" fmla="*/ 797 w 1145"/>
                <a:gd name="T47" fmla="*/ 1090 h 1090"/>
                <a:gd name="T48" fmla="*/ 812 w 1145"/>
                <a:gd name="T49" fmla="*/ 1084 h 1090"/>
                <a:gd name="T50" fmla="*/ 812 w 1145"/>
                <a:gd name="T51" fmla="*/ 1052 h 1090"/>
                <a:gd name="T52" fmla="*/ 306 w 1145"/>
                <a:gd name="T53" fmla="*/ 546 h 1090"/>
                <a:gd name="T54" fmla="*/ 559 w 1145"/>
                <a:gd name="T55" fmla="*/ 546 h 1090"/>
                <a:gd name="T56" fmla="*/ 1049 w 1145"/>
                <a:gd name="T57" fmla="*/ 55 h 1090"/>
                <a:gd name="T58" fmla="*/ 1114 w 1145"/>
                <a:gd name="T59" fmla="*/ 119 h 1090"/>
                <a:gd name="T60" fmla="*/ 1145 w 1145"/>
                <a:gd name="T61" fmla="*/ 88 h 1090"/>
                <a:gd name="T62" fmla="*/ 1065 w 1145"/>
                <a:gd name="T63" fmla="*/ 8 h 1090"/>
                <a:gd name="T64" fmla="*/ 1034 w 1145"/>
                <a:gd name="T65" fmla="*/ 8 h 1090"/>
                <a:gd name="T66" fmla="*/ 512 w 1145"/>
                <a:gd name="T67" fmla="*/ 530 h 1090"/>
                <a:gd name="T68" fmla="*/ 505 w 1145"/>
                <a:gd name="T69" fmla="*/ 546 h 1090"/>
                <a:gd name="T70" fmla="*/ 512 w 1145"/>
                <a:gd name="T71" fmla="*/ 562 h 1090"/>
                <a:gd name="T72" fmla="*/ 1034 w 1145"/>
                <a:gd name="T73" fmla="*/ 1084 h 1090"/>
                <a:gd name="T74" fmla="*/ 1049 w 1145"/>
                <a:gd name="T75" fmla="*/ 1090 h 1090"/>
                <a:gd name="T76" fmla="*/ 1065 w 1145"/>
                <a:gd name="T77" fmla="*/ 1084 h 1090"/>
                <a:gd name="T78" fmla="*/ 1065 w 1145"/>
                <a:gd name="T79" fmla="*/ 1052 h 1090"/>
                <a:gd name="T80" fmla="*/ 559 w 1145"/>
                <a:gd name="T81" fmla="*/ 546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45" h="1090">
                  <a:moveTo>
                    <a:pt x="559" y="1052"/>
                  </a:moveTo>
                  <a:cubicBezTo>
                    <a:pt x="568" y="1061"/>
                    <a:pt x="568" y="1075"/>
                    <a:pt x="559" y="1084"/>
                  </a:cubicBezTo>
                  <a:cubicBezTo>
                    <a:pt x="555" y="1088"/>
                    <a:pt x="549" y="1090"/>
                    <a:pt x="544" y="1090"/>
                  </a:cubicBezTo>
                  <a:cubicBezTo>
                    <a:pt x="538" y="1090"/>
                    <a:pt x="532" y="1088"/>
                    <a:pt x="528" y="1084"/>
                  </a:cubicBezTo>
                  <a:cubicBezTo>
                    <a:pt x="6" y="562"/>
                    <a:pt x="6" y="562"/>
                    <a:pt x="6" y="562"/>
                  </a:cubicBezTo>
                  <a:cubicBezTo>
                    <a:pt x="2" y="557"/>
                    <a:pt x="0" y="552"/>
                    <a:pt x="0" y="546"/>
                  </a:cubicBezTo>
                  <a:cubicBezTo>
                    <a:pt x="0" y="540"/>
                    <a:pt x="2" y="535"/>
                    <a:pt x="6" y="530"/>
                  </a:cubicBezTo>
                  <a:cubicBezTo>
                    <a:pt x="528" y="8"/>
                    <a:pt x="528" y="8"/>
                    <a:pt x="528" y="8"/>
                  </a:cubicBezTo>
                  <a:cubicBezTo>
                    <a:pt x="537" y="0"/>
                    <a:pt x="551" y="0"/>
                    <a:pt x="559" y="8"/>
                  </a:cubicBezTo>
                  <a:cubicBezTo>
                    <a:pt x="639" y="88"/>
                    <a:pt x="639" y="88"/>
                    <a:pt x="639" y="88"/>
                  </a:cubicBezTo>
                  <a:cubicBezTo>
                    <a:pt x="608" y="119"/>
                    <a:pt x="608" y="119"/>
                    <a:pt x="608" y="119"/>
                  </a:cubicBezTo>
                  <a:cubicBezTo>
                    <a:pt x="544" y="55"/>
                    <a:pt x="544" y="55"/>
                    <a:pt x="544" y="55"/>
                  </a:cubicBezTo>
                  <a:cubicBezTo>
                    <a:pt x="53" y="546"/>
                    <a:pt x="53" y="546"/>
                    <a:pt x="53" y="546"/>
                  </a:cubicBezTo>
                  <a:lnTo>
                    <a:pt x="559" y="1052"/>
                  </a:lnTo>
                  <a:close/>
                  <a:moveTo>
                    <a:pt x="306" y="546"/>
                  </a:moveTo>
                  <a:cubicBezTo>
                    <a:pt x="797" y="55"/>
                    <a:pt x="797" y="55"/>
                    <a:pt x="797" y="55"/>
                  </a:cubicBezTo>
                  <a:cubicBezTo>
                    <a:pt x="861" y="119"/>
                    <a:pt x="861" y="119"/>
                    <a:pt x="861" y="119"/>
                  </a:cubicBezTo>
                  <a:cubicBezTo>
                    <a:pt x="892" y="88"/>
                    <a:pt x="892" y="88"/>
                    <a:pt x="892" y="88"/>
                  </a:cubicBezTo>
                  <a:cubicBezTo>
                    <a:pt x="812" y="8"/>
                    <a:pt x="812" y="8"/>
                    <a:pt x="812" y="8"/>
                  </a:cubicBezTo>
                  <a:cubicBezTo>
                    <a:pt x="804" y="0"/>
                    <a:pt x="790" y="0"/>
                    <a:pt x="781" y="8"/>
                  </a:cubicBezTo>
                  <a:cubicBezTo>
                    <a:pt x="259" y="530"/>
                    <a:pt x="259" y="530"/>
                    <a:pt x="259" y="530"/>
                  </a:cubicBezTo>
                  <a:cubicBezTo>
                    <a:pt x="250" y="539"/>
                    <a:pt x="250" y="553"/>
                    <a:pt x="259" y="562"/>
                  </a:cubicBezTo>
                  <a:cubicBezTo>
                    <a:pt x="781" y="1084"/>
                    <a:pt x="781" y="1084"/>
                    <a:pt x="781" y="1084"/>
                  </a:cubicBezTo>
                  <a:cubicBezTo>
                    <a:pt x="785" y="1088"/>
                    <a:pt x="791" y="1090"/>
                    <a:pt x="797" y="1090"/>
                  </a:cubicBezTo>
                  <a:cubicBezTo>
                    <a:pt x="802" y="1090"/>
                    <a:pt x="808" y="1088"/>
                    <a:pt x="812" y="1084"/>
                  </a:cubicBezTo>
                  <a:cubicBezTo>
                    <a:pt x="821" y="1075"/>
                    <a:pt x="821" y="1061"/>
                    <a:pt x="812" y="1052"/>
                  </a:cubicBezTo>
                  <a:lnTo>
                    <a:pt x="306" y="546"/>
                  </a:lnTo>
                  <a:close/>
                  <a:moveTo>
                    <a:pt x="559" y="546"/>
                  </a:moveTo>
                  <a:cubicBezTo>
                    <a:pt x="1049" y="55"/>
                    <a:pt x="1049" y="55"/>
                    <a:pt x="1049" y="55"/>
                  </a:cubicBezTo>
                  <a:cubicBezTo>
                    <a:pt x="1114" y="119"/>
                    <a:pt x="1114" y="119"/>
                    <a:pt x="1114" y="119"/>
                  </a:cubicBezTo>
                  <a:cubicBezTo>
                    <a:pt x="1145" y="88"/>
                    <a:pt x="1145" y="88"/>
                    <a:pt x="1145" y="88"/>
                  </a:cubicBezTo>
                  <a:cubicBezTo>
                    <a:pt x="1065" y="8"/>
                    <a:pt x="1065" y="8"/>
                    <a:pt x="1065" y="8"/>
                  </a:cubicBezTo>
                  <a:cubicBezTo>
                    <a:pt x="1056" y="0"/>
                    <a:pt x="1042" y="0"/>
                    <a:pt x="1034" y="8"/>
                  </a:cubicBezTo>
                  <a:cubicBezTo>
                    <a:pt x="512" y="530"/>
                    <a:pt x="512" y="530"/>
                    <a:pt x="512" y="530"/>
                  </a:cubicBezTo>
                  <a:cubicBezTo>
                    <a:pt x="508" y="535"/>
                    <a:pt x="505" y="540"/>
                    <a:pt x="505" y="546"/>
                  </a:cubicBezTo>
                  <a:cubicBezTo>
                    <a:pt x="505" y="552"/>
                    <a:pt x="508" y="557"/>
                    <a:pt x="512" y="562"/>
                  </a:cubicBezTo>
                  <a:cubicBezTo>
                    <a:pt x="1034" y="1084"/>
                    <a:pt x="1034" y="1084"/>
                    <a:pt x="1034" y="1084"/>
                  </a:cubicBezTo>
                  <a:cubicBezTo>
                    <a:pt x="1038" y="1088"/>
                    <a:pt x="1044" y="1090"/>
                    <a:pt x="1049" y="1090"/>
                  </a:cubicBezTo>
                  <a:cubicBezTo>
                    <a:pt x="1055" y="1090"/>
                    <a:pt x="1061" y="1088"/>
                    <a:pt x="1065" y="1084"/>
                  </a:cubicBezTo>
                  <a:cubicBezTo>
                    <a:pt x="1074" y="1075"/>
                    <a:pt x="1074" y="1061"/>
                    <a:pt x="1065" y="1052"/>
                  </a:cubicBezTo>
                  <a:lnTo>
                    <a:pt x="559" y="5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33">
              <a:extLst>
                <a:ext uri="{FF2B5EF4-FFF2-40B4-BE49-F238E27FC236}">
                  <a16:creationId xmlns="" xmlns:a16="http://schemas.microsoft.com/office/drawing/2014/main" id="{D2C9C1F5-5C99-44C3-A065-7E199E6B915E}"/>
                </a:ext>
              </a:extLst>
            </p:cNvPr>
            <p:cNvSpPr>
              <a:spLocks/>
            </p:cNvSpPr>
            <p:nvPr/>
          </p:nvSpPr>
          <p:spPr bwMode="auto">
            <a:xfrm>
              <a:off x="3531" y="1136"/>
              <a:ext cx="2038" cy="2044"/>
            </a:xfrm>
            <a:custGeom>
              <a:avLst/>
              <a:gdLst>
                <a:gd name="T0" fmla="*/ 1082 w 1088"/>
                <a:gd name="T1" fmla="*/ 530 h 1090"/>
                <a:gd name="T2" fmla="*/ 560 w 1088"/>
                <a:gd name="T3" fmla="*/ 8 h 1090"/>
                <a:gd name="T4" fmla="*/ 529 w 1088"/>
                <a:gd name="T5" fmla="*/ 8 h 1090"/>
                <a:gd name="T6" fmla="*/ 7 w 1088"/>
                <a:gd name="T7" fmla="*/ 530 h 1090"/>
                <a:gd name="T8" fmla="*/ 0 w 1088"/>
                <a:gd name="T9" fmla="*/ 546 h 1090"/>
                <a:gd name="T10" fmla="*/ 7 w 1088"/>
                <a:gd name="T11" fmla="*/ 562 h 1090"/>
                <a:gd name="T12" fmla="*/ 529 w 1088"/>
                <a:gd name="T13" fmla="*/ 1084 h 1090"/>
                <a:gd name="T14" fmla="*/ 544 w 1088"/>
                <a:gd name="T15" fmla="*/ 1090 h 1090"/>
                <a:gd name="T16" fmla="*/ 560 w 1088"/>
                <a:gd name="T17" fmla="*/ 1084 h 1090"/>
                <a:gd name="T18" fmla="*/ 1082 w 1088"/>
                <a:gd name="T19" fmla="*/ 562 h 1090"/>
                <a:gd name="T20" fmla="*/ 1088 w 1088"/>
                <a:gd name="T21" fmla="*/ 546 h 1090"/>
                <a:gd name="T22" fmla="*/ 1082 w 1088"/>
                <a:gd name="T23" fmla="*/ 53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8" h="1090">
                  <a:moveTo>
                    <a:pt x="1082" y="530"/>
                  </a:moveTo>
                  <a:cubicBezTo>
                    <a:pt x="560" y="8"/>
                    <a:pt x="560" y="8"/>
                    <a:pt x="560" y="8"/>
                  </a:cubicBezTo>
                  <a:cubicBezTo>
                    <a:pt x="551" y="0"/>
                    <a:pt x="537" y="0"/>
                    <a:pt x="529" y="8"/>
                  </a:cubicBezTo>
                  <a:cubicBezTo>
                    <a:pt x="7" y="530"/>
                    <a:pt x="7" y="530"/>
                    <a:pt x="7" y="530"/>
                  </a:cubicBezTo>
                  <a:cubicBezTo>
                    <a:pt x="3" y="535"/>
                    <a:pt x="0" y="540"/>
                    <a:pt x="0" y="546"/>
                  </a:cubicBezTo>
                  <a:cubicBezTo>
                    <a:pt x="0" y="552"/>
                    <a:pt x="3" y="557"/>
                    <a:pt x="7" y="562"/>
                  </a:cubicBezTo>
                  <a:cubicBezTo>
                    <a:pt x="529" y="1084"/>
                    <a:pt x="529" y="1084"/>
                    <a:pt x="529" y="1084"/>
                  </a:cubicBezTo>
                  <a:cubicBezTo>
                    <a:pt x="533" y="1088"/>
                    <a:pt x="539" y="1090"/>
                    <a:pt x="544" y="1090"/>
                  </a:cubicBezTo>
                  <a:cubicBezTo>
                    <a:pt x="550" y="1090"/>
                    <a:pt x="556" y="1088"/>
                    <a:pt x="560" y="1084"/>
                  </a:cubicBezTo>
                  <a:cubicBezTo>
                    <a:pt x="1082" y="562"/>
                    <a:pt x="1082" y="562"/>
                    <a:pt x="1082" y="562"/>
                  </a:cubicBezTo>
                  <a:cubicBezTo>
                    <a:pt x="1086" y="557"/>
                    <a:pt x="1088" y="552"/>
                    <a:pt x="1088" y="546"/>
                  </a:cubicBezTo>
                  <a:cubicBezTo>
                    <a:pt x="1088" y="540"/>
                    <a:pt x="1086" y="535"/>
                    <a:pt x="1082" y="5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63190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071938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96"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4" name="ee4pHeader1"/>
          <p:cNvSpPr txBox="1"/>
          <p:nvPr/>
        </p:nvSpPr>
        <p:spPr>
          <a:xfrm>
            <a:off x="1873751" y="1051961"/>
            <a:ext cx="2418304" cy="658368"/>
          </a:xfrm>
          <a:prstGeom prst="rect">
            <a:avLst/>
          </a:prstGeom>
          <a:noFill/>
          <a:ln cap="rnd">
            <a:noFill/>
          </a:ln>
        </p:spPr>
        <p:txBody>
          <a:bodyPr wrap="square" lIns="0" tIns="0" rIns="0" bIns="0" rtlCol="0" anchor="b" anchorCtr="0">
            <a:noAutofit/>
          </a:bodyPr>
          <a:lstStyle/>
          <a:p>
            <a:pPr marL="0" lvl="3"/>
            <a:r>
              <a:rPr lang="en-US" sz="1600" dirty="0" smtClean="0">
                <a:solidFill>
                  <a:schemeClr val="tx2"/>
                </a:solidFill>
              </a:rPr>
              <a:t>Logistic Regression</a:t>
            </a:r>
          </a:p>
          <a:p>
            <a:pPr marL="0" lvl="3"/>
            <a:endParaRPr lang="en-US" sz="1600" dirty="0">
              <a:solidFill>
                <a:schemeClr val="tx2"/>
              </a:solidFill>
            </a:endParaRPr>
          </a:p>
        </p:txBody>
      </p:sp>
      <p:grpSp>
        <p:nvGrpSpPr>
          <p:cNvPr id="6" name="Group 5"/>
          <p:cNvGrpSpPr/>
          <p:nvPr/>
        </p:nvGrpSpPr>
        <p:grpSpPr>
          <a:xfrm>
            <a:off x="1680790" y="1777928"/>
            <a:ext cx="9819773" cy="1479423"/>
            <a:chOff x="1680790" y="1696905"/>
            <a:chExt cx="9819773" cy="1479423"/>
          </a:xfrm>
        </p:grpSpPr>
        <p:sp>
          <p:nvSpPr>
            <p:cNvPr id="26" name="ee4pContent1"/>
            <p:cNvSpPr txBox="1"/>
            <p:nvPr/>
          </p:nvSpPr>
          <p:spPr>
            <a:xfrm>
              <a:off x="1680790" y="1696905"/>
              <a:ext cx="2168029"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P</a:t>
              </a:r>
              <a:r>
                <a:rPr lang="en-US" dirty="0" smtClean="0"/>
                <a:t>redicts </a:t>
              </a:r>
              <a:r>
                <a:rPr lang="en-US" dirty="0"/>
                <a:t>the probability of occurrence of an event by fitting data to </a:t>
              </a:r>
              <a:r>
                <a:rPr lang="en-US" dirty="0" smtClean="0"/>
                <a:t>a sigmoid logit function</a:t>
              </a:r>
              <a:endParaRPr lang="en-US" dirty="0"/>
            </a:p>
          </p:txBody>
        </p:sp>
        <p:sp>
          <p:nvSpPr>
            <p:cNvPr id="27" name="ee4pContent2"/>
            <p:cNvSpPr txBox="1"/>
            <p:nvPr/>
          </p:nvSpPr>
          <p:spPr>
            <a:xfrm>
              <a:off x="4237956"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Simple probabilistic classifier based on applying Bayes' theorem with strong (naive) independence assumptions between the </a:t>
              </a:r>
              <a:r>
                <a:rPr lang="en-US" dirty="0" smtClean="0"/>
                <a:t>features</a:t>
              </a:r>
              <a:endParaRPr lang="en-US" dirty="0"/>
            </a:p>
          </p:txBody>
        </p:sp>
        <p:sp>
          <p:nvSpPr>
            <p:cNvPr id="28" name="ee4pContent3"/>
            <p:cNvSpPr txBox="1"/>
            <p:nvPr/>
          </p:nvSpPr>
          <p:spPr>
            <a:xfrm>
              <a:off x="6770030"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Finds a </a:t>
              </a:r>
              <a:r>
                <a:rPr lang="en-US" dirty="0"/>
                <a:t>hyperplane that best divides a dataset into two </a:t>
              </a:r>
              <a:r>
                <a:rPr lang="en-US" dirty="0" smtClean="0"/>
                <a:t>classes (maximizes the margin between the two classes and hyperplane)</a:t>
              </a:r>
              <a:endParaRPr lang="en-US" dirty="0">
                <a:latin typeface="+mn-lt"/>
              </a:endParaRPr>
            </a:p>
          </p:txBody>
        </p:sp>
        <p:sp>
          <p:nvSpPr>
            <p:cNvPr id="29" name="ee4pContent4"/>
            <p:cNvSpPr txBox="1"/>
            <p:nvPr/>
          </p:nvSpPr>
          <p:spPr>
            <a:xfrm>
              <a:off x="9302105"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Produces </a:t>
              </a:r>
              <a:r>
                <a:rPr lang="en-US" dirty="0"/>
                <a:t>a sequence of rules that can be used to classify the </a:t>
              </a:r>
              <a:r>
                <a:rPr lang="en-US" dirty="0" smtClean="0"/>
                <a:t>data in a tree shaped flowchart, based on homogeneity of split</a:t>
              </a:r>
              <a:endParaRPr lang="en-US" dirty="0">
                <a:latin typeface="+mn-lt"/>
              </a:endParaRPr>
            </a:p>
          </p:txBody>
        </p:sp>
      </p:grpSp>
      <p:sp>
        <p:nvSpPr>
          <p:cNvPr id="16" name="ee4pHeader2"/>
          <p:cNvSpPr txBox="1"/>
          <p:nvPr/>
        </p:nvSpPr>
        <p:spPr>
          <a:xfrm>
            <a:off x="4408812" y="1051961"/>
            <a:ext cx="2418304" cy="658368"/>
          </a:xfrm>
          <a:prstGeom prst="rect">
            <a:avLst/>
          </a:prstGeom>
          <a:noFill/>
          <a:ln cap="rnd">
            <a:noFill/>
          </a:ln>
        </p:spPr>
        <p:txBody>
          <a:bodyPr wrap="square" lIns="0" tIns="0" rIns="0" bIns="0" rtlCol="0" anchor="b" anchorCtr="0">
            <a:noAutofit/>
          </a:bodyPr>
          <a:lstStyle/>
          <a:p>
            <a:pPr marL="0" lvl="3"/>
            <a:r>
              <a:rPr lang="en-US" sz="1600" dirty="0" smtClean="0">
                <a:solidFill>
                  <a:schemeClr val="tx2"/>
                </a:solidFill>
              </a:rPr>
              <a:t>Naïve Bayes</a:t>
            </a:r>
          </a:p>
          <a:p>
            <a:pPr marL="0" lvl="3"/>
            <a:endParaRPr lang="en-US" sz="1600" dirty="0">
              <a:solidFill>
                <a:schemeClr val="tx2"/>
              </a:solidFill>
            </a:endParaRPr>
          </a:p>
        </p:txBody>
      </p:sp>
      <p:sp>
        <p:nvSpPr>
          <p:cNvPr id="18" name="ee4pHeader3"/>
          <p:cNvSpPr txBox="1"/>
          <p:nvPr/>
        </p:nvSpPr>
        <p:spPr>
          <a:xfrm>
            <a:off x="6934912" y="1051961"/>
            <a:ext cx="2418304" cy="658368"/>
          </a:xfrm>
          <a:prstGeom prst="rect">
            <a:avLst/>
          </a:prstGeom>
          <a:noFill/>
          <a:ln cap="rnd">
            <a:noFill/>
          </a:ln>
        </p:spPr>
        <p:txBody>
          <a:bodyPr wrap="square" lIns="0" tIns="0" rIns="0" bIns="0" rtlCol="0" anchor="b" anchorCtr="0">
            <a:noAutofit/>
          </a:bodyPr>
          <a:lstStyle/>
          <a:p>
            <a:pPr marL="0" lvl="3"/>
            <a:r>
              <a:rPr lang="en-US" sz="1600" dirty="0" smtClean="0">
                <a:solidFill>
                  <a:schemeClr val="tx2"/>
                </a:solidFill>
              </a:rPr>
              <a:t>Support Vector </a:t>
            </a:r>
          </a:p>
          <a:p>
            <a:pPr marL="0" lvl="3"/>
            <a:r>
              <a:rPr lang="en-US" sz="1600" dirty="0" smtClean="0">
                <a:solidFill>
                  <a:schemeClr val="tx2"/>
                </a:solidFill>
              </a:rPr>
              <a:t>Machines</a:t>
            </a:r>
            <a:endParaRPr lang="en-US" sz="1600" dirty="0">
              <a:solidFill>
                <a:schemeClr val="tx2"/>
              </a:solidFill>
            </a:endParaRPr>
          </a:p>
        </p:txBody>
      </p:sp>
      <p:sp>
        <p:nvSpPr>
          <p:cNvPr id="20" name="ee4pHeader4"/>
          <p:cNvSpPr txBox="1"/>
          <p:nvPr/>
        </p:nvSpPr>
        <p:spPr>
          <a:xfrm>
            <a:off x="9469974" y="1051961"/>
            <a:ext cx="2418304" cy="658368"/>
          </a:xfrm>
          <a:prstGeom prst="rect">
            <a:avLst/>
          </a:prstGeom>
          <a:noFill/>
          <a:ln cap="rnd">
            <a:noFill/>
          </a:ln>
        </p:spPr>
        <p:txBody>
          <a:bodyPr wrap="square" lIns="0" tIns="0" rIns="0" bIns="0" rtlCol="0" anchor="b" anchorCtr="0">
            <a:noAutofit/>
          </a:bodyPr>
          <a:lstStyle/>
          <a:p>
            <a:pPr marL="0" lvl="3"/>
            <a:r>
              <a:rPr lang="en-US" sz="1600" dirty="0" smtClean="0">
                <a:solidFill>
                  <a:schemeClr val="tx2"/>
                </a:solidFill>
              </a:rPr>
              <a:t>Decision Tree</a:t>
            </a:r>
          </a:p>
          <a:p>
            <a:pPr marL="0" lvl="3"/>
            <a:endParaRPr lang="en-US" sz="1600" dirty="0">
              <a:solidFill>
                <a:schemeClr val="tx2"/>
              </a:solidFill>
            </a:endParaRPr>
          </a:p>
        </p:txBody>
      </p:sp>
      <p:sp>
        <p:nvSpPr>
          <p:cNvPr id="2" name="Title 1"/>
          <p:cNvSpPr>
            <a:spLocks noGrp="1"/>
          </p:cNvSpPr>
          <p:nvPr>
            <p:ph type="title"/>
          </p:nvPr>
        </p:nvSpPr>
        <p:spPr/>
        <p:txBody>
          <a:bodyPr/>
          <a:lstStyle/>
          <a:p>
            <a:r>
              <a:rPr lang="en-US" dirty="0" smtClean="0"/>
              <a:t>Comparison of Classification algorithms – Part 1</a:t>
            </a:r>
            <a:endParaRPr lang="en-US" dirty="0"/>
          </a:p>
        </p:txBody>
      </p:sp>
      <p:sp>
        <p:nvSpPr>
          <p:cNvPr id="11" name="TextColumnContent"/>
          <p:cNvSpPr>
            <a:spLocks noChangeArrowheads="1"/>
          </p:cNvSpPr>
          <p:nvPr/>
        </p:nvSpPr>
        <p:spPr bwMode="gray">
          <a:xfrm>
            <a:off x="17315" y="5419307"/>
            <a:ext cx="1554480" cy="430865"/>
          </a:xfrm>
          <a:prstGeom prst="rect">
            <a:avLst/>
          </a:prstGeom>
          <a:noFill/>
          <a:ln w="9525" algn="ctr">
            <a:noFill/>
            <a:miter lim="800000"/>
            <a:headEnd/>
            <a:tailEnd/>
          </a:ln>
          <a:effectLst/>
        </p:spPr>
        <p:txBody>
          <a:bodyPr lIns="91429" tIns="91429" rIns="91429" bIns="91429">
            <a:spAutoFit/>
          </a:bodyPr>
          <a:lstStyle/>
          <a:p>
            <a:pPr algn="ctr"/>
            <a:r>
              <a:rPr lang="en-US" sz="1600" dirty="0" smtClean="0">
                <a:solidFill>
                  <a:schemeClr val="tx2"/>
                </a:solidFill>
                <a:sym typeface="Trebuchet MS" panose="020B0603020202020204" pitchFamily="34" charset="0"/>
              </a:rPr>
              <a:t>Limitations</a:t>
            </a:r>
            <a:endParaRPr lang="en-US" sz="1600" dirty="0">
              <a:solidFill>
                <a:schemeClr val="tx2"/>
              </a:solidFill>
              <a:sym typeface="Trebuchet MS" panose="020B0603020202020204" pitchFamily="34" charset="0"/>
            </a:endParaRPr>
          </a:p>
        </p:txBody>
      </p:sp>
      <p:sp>
        <p:nvSpPr>
          <p:cNvPr id="12" name="TextColumnContent"/>
          <p:cNvSpPr>
            <a:spLocks noChangeArrowheads="1"/>
          </p:cNvSpPr>
          <p:nvPr/>
        </p:nvSpPr>
        <p:spPr bwMode="gray">
          <a:xfrm>
            <a:off x="17315" y="3698668"/>
            <a:ext cx="1554480" cy="430865"/>
          </a:xfrm>
          <a:prstGeom prst="rect">
            <a:avLst/>
          </a:prstGeom>
          <a:noFill/>
          <a:ln w="9525" algn="ctr">
            <a:noFill/>
            <a:miter lim="800000"/>
            <a:headEnd/>
            <a:tailEnd/>
          </a:ln>
          <a:effectLst/>
        </p:spPr>
        <p:txBody>
          <a:bodyPr lIns="91429" tIns="91429" rIns="91429" bIns="91429">
            <a:spAutoFit/>
          </a:bodyPr>
          <a:lstStyle/>
          <a:p>
            <a:pPr algn="ctr"/>
            <a:r>
              <a:rPr lang="en-US" sz="1600" dirty="0" smtClean="0">
                <a:solidFill>
                  <a:schemeClr val="tx2"/>
                </a:solidFill>
                <a:sym typeface="Trebuchet MS" panose="020B0603020202020204" pitchFamily="34" charset="0"/>
              </a:rPr>
              <a:t>Benefits</a:t>
            </a:r>
            <a:endParaRPr lang="en-US" sz="1600" dirty="0">
              <a:solidFill>
                <a:schemeClr val="tx2"/>
              </a:solidFill>
              <a:sym typeface="Trebuchet MS" panose="020B0603020202020204" pitchFamily="34" charset="0"/>
            </a:endParaRPr>
          </a:p>
        </p:txBody>
      </p:sp>
      <p:sp>
        <p:nvSpPr>
          <p:cNvPr id="13" name="TextColumnContent"/>
          <p:cNvSpPr>
            <a:spLocks noChangeArrowheads="1"/>
          </p:cNvSpPr>
          <p:nvPr/>
        </p:nvSpPr>
        <p:spPr bwMode="gray">
          <a:xfrm>
            <a:off x="17315" y="1843771"/>
            <a:ext cx="1554480" cy="677086"/>
          </a:xfrm>
          <a:prstGeom prst="rect">
            <a:avLst/>
          </a:prstGeom>
          <a:noFill/>
          <a:ln w="9525" algn="ctr">
            <a:noFill/>
            <a:miter lim="800000"/>
            <a:headEnd/>
            <a:tailEnd/>
          </a:ln>
          <a:effectLst/>
        </p:spPr>
        <p:txBody>
          <a:bodyPr lIns="91429" tIns="91429" rIns="91429" bIns="91429">
            <a:spAutoFit/>
          </a:bodyPr>
          <a:lstStyle/>
          <a:p>
            <a:pPr algn="ctr"/>
            <a:r>
              <a:rPr lang="en-US" sz="1600" dirty="0" smtClean="0">
                <a:solidFill>
                  <a:schemeClr val="tx2"/>
                </a:solidFill>
                <a:sym typeface="Trebuchet MS" panose="020B0603020202020204" pitchFamily="34" charset="0"/>
              </a:rPr>
              <a:t>Key</a:t>
            </a:r>
          </a:p>
          <a:p>
            <a:pPr algn="ctr"/>
            <a:r>
              <a:rPr lang="en-US" sz="1200" dirty="0" smtClean="0">
                <a:latin typeface="Trebuchet MS" panose="020B0603020202020204" pitchFamily="34" charset="0"/>
                <a:cs typeface="Arial" pitchFamily="34" charset="0"/>
                <a:sym typeface="Trebuchet MS" panose="020B0603020202020204" pitchFamily="34" charset="0"/>
              </a:rPr>
              <a:t> </a:t>
            </a:r>
            <a:r>
              <a:rPr lang="en-US" sz="1600" dirty="0">
                <a:solidFill>
                  <a:schemeClr val="tx2"/>
                </a:solidFill>
                <a:sym typeface="Trebuchet MS" panose="020B0603020202020204" pitchFamily="34" charset="0"/>
              </a:rPr>
              <a:t>concept</a:t>
            </a:r>
          </a:p>
        </p:txBody>
      </p:sp>
      <p:sp>
        <p:nvSpPr>
          <p:cNvPr id="22" name="Freeform 51"/>
          <p:cNvSpPr>
            <a:spLocks/>
          </p:cNvSpPr>
          <p:nvPr/>
        </p:nvSpPr>
        <p:spPr bwMode="auto">
          <a:xfrm rot="5400000" flipV="1">
            <a:off x="1276347" y="3813502"/>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nvGrpSpPr>
          <p:cNvPr id="7" name="Group 6"/>
          <p:cNvGrpSpPr/>
          <p:nvPr/>
        </p:nvGrpSpPr>
        <p:grpSpPr>
          <a:xfrm>
            <a:off x="1680790" y="4948176"/>
            <a:ext cx="9819773" cy="0"/>
            <a:chOff x="1680790" y="4963276"/>
            <a:chExt cx="9819773" cy="0"/>
          </a:xfrm>
        </p:grpSpPr>
        <p:cxnSp>
          <p:nvCxnSpPr>
            <p:cNvPr id="23" name="Straight Connector 22"/>
            <p:cNvCxnSpPr/>
            <p:nvPr/>
          </p:nvCxnSpPr>
          <p:spPr>
            <a:xfrm>
              <a:off x="1680790" y="4963276"/>
              <a:ext cx="2205337"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218935" y="4963276"/>
              <a:ext cx="2205337"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57081" y="4963276"/>
              <a:ext cx="2205337"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9295226" y="4963276"/>
              <a:ext cx="2205337"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1" name="Group 30"/>
          <p:cNvGrpSpPr/>
          <p:nvPr/>
        </p:nvGrpSpPr>
        <p:grpSpPr>
          <a:xfrm>
            <a:off x="1680790" y="3319675"/>
            <a:ext cx="9819773" cy="1010466"/>
            <a:chOff x="1680790" y="1696905"/>
            <a:chExt cx="9819773" cy="1479423"/>
          </a:xfrm>
        </p:grpSpPr>
        <p:sp>
          <p:nvSpPr>
            <p:cNvPr id="35" name="ee4pContent1"/>
            <p:cNvSpPr txBox="1"/>
            <p:nvPr/>
          </p:nvSpPr>
          <p:spPr>
            <a:xfrm>
              <a:off x="1680790" y="1696905"/>
              <a:ext cx="2168029"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Easy to interpret outputs</a:t>
              </a:r>
            </a:p>
            <a:p>
              <a:endParaRPr lang="en-US" dirty="0" smtClean="0">
                <a:latin typeface="+mn-lt"/>
              </a:endParaRPr>
            </a:p>
            <a:p>
              <a:r>
                <a:rPr lang="en-US" dirty="0" smtClean="0">
                  <a:latin typeface="+mn-lt"/>
                </a:rPr>
                <a:t>Works well with linear relationships</a:t>
              </a:r>
            </a:p>
            <a:p>
              <a:endParaRPr lang="en-US" dirty="0" smtClean="0">
                <a:latin typeface="+mn-lt"/>
              </a:endParaRPr>
            </a:p>
            <a:p>
              <a:r>
                <a:rPr lang="en-US" dirty="0" smtClean="0">
                  <a:latin typeface="+mn-lt"/>
                </a:rPr>
                <a:t>Computationally inexpensive</a:t>
              </a:r>
              <a:endParaRPr lang="en-US" dirty="0">
                <a:latin typeface="+mn-lt"/>
              </a:endParaRPr>
            </a:p>
            <a:p>
              <a:endParaRPr lang="en-US" dirty="0">
                <a:latin typeface="+mn-lt"/>
              </a:endParaRPr>
            </a:p>
          </p:txBody>
        </p:sp>
        <p:sp>
          <p:nvSpPr>
            <p:cNvPr id="36" name="ee4pContent2"/>
            <p:cNvSpPr txBox="1"/>
            <p:nvPr/>
          </p:nvSpPr>
          <p:spPr>
            <a:xfrm>
              <a:off x="4237956"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Simple and fast algorithm</a:t>
              </a:r>
            </a:p>
            <a:p>
              <a:endParaRPr lang="en-US" dirty="0" smtClean="0"/>
            </a:p>
            <a:p>
              <a:r>
                <a:rPr lang="en-US" dirty="0" smtClean="0"/>
                <a:t>Small </a:t>
              </a:r>
              <a:r>
                <a:rPr lang="en-US" dirty="0"/>
                <a:t>amount of training </a:t>
              </a:r>
              <a:r>
                <a:rPr lang="en-US" dirty="0" smtClean="0"/>
                <a:t>data required</a:t>
              </a:r>
            </a:p>
            <a:p>
              <a:endParaRPr lang="en-US" dirty="0">
                <a:latin typeface="+mn-lt"/>
              </a:endParaRPr>
            </a:p>
            <a:p>
              <a:r>
                <a:rPr lang="en-US" dirty="0" smtClean="0">
                  <a:latin typeface="+mn-lt"/>
                </a:rPr>
                <a:t>Performs well in text classification</a:t>
              </a:r>
            </a:p>
            <a:p>
              <a:endParaRPr lang="en-US" dirty="0">
                <a:latin typeface="+mn-lt"/>
              </a:endParaRPr>
            </a:p>
            <a:p>
              <a:endParaRPr lang="en-US" dirty="0">
                <a:latin typeface="+mn-lt"/>
              </a:endParaRPr>
            </a:p>
          </p:txBody>
        </p:sp>
        <p:sp>
          <p:nvSpPr>
            <p:cNvPr id="37" name="ee4pContent3"/>
            <p:cNvSpPr txBox="1"/>
            <p:nvPr/>
          </p:nvSpPr>
          <p:spPr>
            <a:xfrm>
              <a:off x="6770030"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Effective </a:t>
              </a:r>
              <a:r>
                <a:rPr lang="en-US" dirty="0"/>
                <a:t>in high dimensional </a:t>
              </a:r>
              <a:r>
                <a:rPr lang="en-US" dirty="0" smtClean="0"/>
                <a:t>spaces</a:t>
              </a:r>
            </a:p>
            <a:p>
              <a:endParaRPr lang="en-US" dirty="0"/>
            </a:p>
            <a:p>
              <a:r>
                <a:rPr lang="en-US" dirty="0"/>
                <a:t>Can approximate complex nonlinear functions</a:t>
              </a:r>
            </a:p>
            <a:p>
              <a:endParaRPr lang="en-US" dirty="0" smtClean="0"/>
            </a:p>
            <a:p>
              <a:r>
                <a:rPr lang="en-US" dirty="0" smtClean="0"/>
                <a:t>Work well on smaller </a:t>
              </a:r>
              <a:r>
                <a:rPr lang="en-US" dirty="0"/>
                <a:t>cleaner datasets</a:t>
              </a:r>
            </a:p>
            <a:p>
              <a:endParaRPr lang="en-US" dirty="0">
                <a:latin typeface="+mn-lt"/>
              </a:endParaRPr>
            </a:p>
          </p:txBody>
        </p:sp>
        <p:sp>
          <p:nvSpPr>
            <p:cNvPr id="38" name="ee4pContent4"/>
            <p:cNvSpPr txBox="1"/>
            <p:nvPr/>
          </p:nvSpPr>
          <p:spPr>
            <a:xfrm>
              <a:off x="9302105"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latin typeface="+mn-lt"/>
                </a:rPr>
                <a:t>Easy to </a:t>
              </a:r>
              <a:r>
                <a:rPr lang="en-US" dirty="0" smtClean="0">
                  <a:latin typeface="+mn-lt"/>
                </a:rPr>
                <a:t>understand and visualize</a:t>
              </a:r>
            </a:p>
            <a:p>
              <a:endParaRPr lang="en-US" dirty="0">
                <a:latin typeface="+mn-lt"/>
              </a:endParaRPr>
            </a:p>
            <a:p>
              <a:r>
                <a:rPr lang="en-US" dirty="0" smtClean="0">
                  <a:latin typeface="+mn-lt"/>
                </a:rPr>
                <a:t>Not influenced by outliers, missing data to some extent</a:t>
              </a:r>
            </a:p>
            <a:p>
              <a:endParaRPr lang="en-US" dirty="0" smtClean="0">
                <a:latin typeface="+mn-lt"/>
              </a:endParaRPr>
            </a:p>
            <a:p>
              <a:r>
                <a:rPr lang="en-US" dirty="0" smtClean="0">
                  <a:latin typeface="+mn-lt"/>
                </a:rPr>
                <a:t>Handles both numeric and categorical data well</a:t>
              </a:r>
            </a:p>
            <a:p>
              <a:endParaRPr lang="en-US" dirty="0">
                <a:latin typeface="+mn-lt"/>
              </a:endParaRPr>
            </a:p>
            <a:p>
              <a:endParaRPr lang="en-US" dirty="0">
                <a:latin typeface="+mn-lt"/>
              </a:endParaRPr>
            </a:p>
          </p:txBody>
        </p:sp>
      </p:grpSp>
      <p:grpSp>
        <p:nvGrpSpPr>
          <p:cNvPr id="39" name="Group 38"/>
          <p:cNvGrpSpPr/>
          <p:nvPr/>
        </p:nvGrpSpPr>
        <p:grpSpPr>
          <a:xfrm>
            <a:off x="1680790" y="5098698"/>
            <a:ext cx="9819773" cy="1010466"/>
            <a:chOff x="1680790" y="1696905"/>
            <a:chExt cx="9819773" cy="1479423"/>
          </a:xfrm>
        </p:grpSpPr>
        <p:sp>
          <p:nvSpPr>
            <p:cNvPr id="40" name="ee4pContent1"/>
            <p:cNvSpPr txBox="1"/>
            <p:nvPr/>
          </p:nvSpPr>
          <p:spPr>
            <a:xfrm>
              <a:off x="1680790" y="1696905"/>
              <a:ext cx="2168029"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Performs poorly with non-linear relationships</a:t>
              </a:r>
            </a:p>
            <a:p>
              <a:endParaRPr lang="en-US" dirty="0">
                <a:latin typeface="+mn-lt"/>
              </a:endParaRPr>
            </a:p>
            <a:p>
              <a:r>
                <a:rPr lang="en-US" dirty="0" smtClean="0">
                  <a:latin typeface="+mn-lt"/>
                </a:rPr>
                <a:t>Requires assumptions to be met e.g. no multicollinearity</a:t>
              </a:r>
            </a:p>
            <a:p>
              <a:endParaRPr lang="en-US" dirty="0">
                <a:latin typeface="+mn-lt"/>
              </a:endParaRPr>
            </a:p>
            <a:p>
              <a:r>
                <a:rPr lang="en-US" dirty="0" smtClean="0">
                  <a:latin typeface="+mn-lt"/>
                </a:rPr>
                <a:t>Suffers in the case of outliers</a:t>
              </a:r>
              <a:endParaRPr lang="en-US" dirty="0">
                <a:latin typeface="+mn-lt"/>
              </a:endParaRPr>
            </a:p>
          </p:txBody>
        </p:sp>
        <p:sp>
          <p:nvSpPr>
            <p:cNvPr id="41" name="ee4pContent2"/>
            <p:cNvSpPr txBox="1"/>
            <p:nvPr/>
          </p:nvSpPr>
          <p:spPr>
            <a:xfrm>
              <a:off x="4237956"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Strong and unrealistic feature independence assumptions</a:t>
              </a:r>
            </a:p>
            <a:p>
              <a:endParaRPr lang="en-US" dirty="0" smtClean="0">
                <a:latin typeface="+mn-lt"/>
              </a:endParaRPr>
            </a:p>
            <a:p>
              <a:r>
                <a:rPr lang="en-US" dirty="0"/>
                <a:t>Fails estimating rare occurrences</a:t>
              </a:r>
            </a:p>
            <a:p>
              <a:endParaRPr lang="en-US" dirty="0" smtClean="0">
                <a:latin typeface="+mn-lt"/>
              </a:endParaRPr>
            </a:p>
            <a:p>
              <a:r>
                <a:rPr lang="en-US" dirty="0" smtClean="0"/>
                <a:t>Bad estimator – probabilities might not be reliable</a:t>
              </a:r>
              <a:endParaRPr lang="en-US" dirty="0">
                <a:latin typeface="+mn-lt"/>
              </a:endParaRPr>
            </a:p>
          </p:txBody>
        </p:sp>
        <p:sp>
          <p:nvSpPr>
            <p:cNvPr id="42" name="ee4pContent3"/>
            <p:cNvSpPr txBox="1"/>
            <p:nvPr/>
          </p:nvSpPr>
          <p:spPr>
            <a:xfrm>
              <a:off x="6770030"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larger datasets </a:t>
              </a:r>
              <a:r>
                <a:rPr lang="en-US" dirty="0" smtClean="0"/>
                <a:t>result in high training time</a:t>
              </a:r>
            </a:p>
            <a:p>
              <a:endParaRPr lang="en-US" dirty="0">
                <a:latin typeface="+mn-lt"/>
              </a:endParaRPr>
            </a:p>
            <a:p>
              <a:r>
                <a:rPr lang="en-US" dirty="0" smtClean="0">
                  <a:latin typeface="+mn-lt"/>
                </a:rPr>
                <a:t>Poor performance when </a:t>
              </a:r>
              <a:r>
                <a:rPr lang="en-US" dirty="0" smtClean="0"/>
                <a:t>target </a:t>
              </a:r>
              <a:r>
                <a:rPr lang="en-US" dirty="0"/>
                <a:t>classes are </a:t>
              </a:r>
              <a:r>
                <a:rPr lang="en-US" dirty="0" smtClean="0"/>
                <a:t>overlapping</a:t>
              </a:r>
            </a:p>
            <a:p>
              <a:endParaRPr lang="en-US" dirty="0">
                <a:latin typeface="+mn-lt"/>
              </a:endParaRPr>
            </a:p>
            <a:p>
              <a:r>
                <a:rPr lang="en-US" dirty="0"/>
                <a:t>Difficult to interpret when applying nonlinear kernels</a:t>
              </a:r>
            </a:p>
            <a:p>
              <a:endParaRPr lang="en-US" dirty="0">
                <a:latin typeface="+mn-lt"/>
              </a:endParaRPr>
            </a:p>
          </p:txBody>
        </p:sp>
        <p:sp>
          <p:nvSpPr>
            <p:cNvPr id="43" name="ee4pContent4"/>
            <p:cNvSpPr txBox="1"/>
            <p:nvPr/>
          </p:nvSpPr>
          <p:spPr>
            <a:xfrm>
              <a:off x="9302105"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Overfitting is common</a:t>
              </a:r>
            </a:p>
            <a:p>
              <a:endParaRPr lang="en-US" dirty="0">
                <a:latin typeface="+mn-lt"/>
              </a:endParaRPr>
            </a:p>
            <a:p>
              <a:r>
                <a:rPr lang="en-US" dirty="0" smtClean="0">
                  <a:latin typeface="+mn-lt"/>
                </a:rPr>
                <a:t>High variance - </a:t>
              </a:r>
              <a:r>
                <a:rPr lang="en-US" dirty="0"/>
                <a:t>unstable with a very small variance in </a:t>
              </a:r>
              <a:r>
                <a:rPr lang="en-US" dirty="0" smtClean="0"/>
                <a:t>data</a:t>
              </a:r>
            </a:p>
            <a:p>
              <a:endParaRPr lang="en-US" dirty="0">
                <a:latin typeface="+mn-lt"/>
              </a:endParaRPr>
            </a:p>
            <a:p>
              <a:r>
                <a:rPr lang="en-US" dirty="0"/>
                <a:t>L</a:t>
              </a:r>
              <a:r>
                <a:rPr lang="en-US" dirty="0" smtClean="0"/>
                <a:t>ow </a:t>
              </a:r>
              <a:r>
                <a:rPr lang="en-US" dirty="0"/>
                <a:t>bias </a:t>
              </a:r>
              <a:r>
                <a:rPr lang="en-US" dirty="0" smtClean="0"/>
                <a:t>- difficult for the model to </a:t>
              </a:r>
              <a:r>
                <a:rPr lang="en-US" dirty="0"/>
                <a:t>work with new data</a:t>
              </a:r>
              <a:endParaRPr lang="en-US" dirty="0">
                <a:latin typeface="+mn-lt"/>
              </a:endParaRPr>
            </a:p>
          </p:txBody>
        </p:sp>
      </p:grpSp>
      <p:grpSp>
        <p:nvGrpSpPr>
          <p:cNvPr id="3" name="Group 2"/>
          <p:cNvGrpSpPr/>
          <p:nvPr/>
        </p:nvGrpSpPr>
        <p:grpSpPr>
          <a:xfrm>
            <a:off x="1680790" y="2901340"/>
            <a:ext cx="9819773" cy="269875"/>
            <a:chOff x="1680790" y="2901340"/>
            <a:chExt cx="9819773" cy="269875"/>
          </a:xfrm>
        </p:grpSpPr>
        <p:grpSp>
          <p:nvGrpSpPr>
            <p:cNvPr id="58" name="Group 57"/>
            <p:cNvGrpSpPr/>
            <p:nvPr/>
          </p:nvGrpSpPr>
          <p:grpSpPr>
            <a:xfrm>
              <a:off x="4218935" y="2901340"/>
              <a:ext cx="2205337" cy="269875"/>
              <a:chOff x="177843" y="3680327"/>
              <a:chExt cx="2275914" cy="269875"/>
            </a:xfrm>
          </p:grpSpPr>
          <p:cxnSp>
            <p:nvCxnSpPr>
              <p:cNvPr id="59" name="Straight Connector 58"/>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rot="5400000" flipV="1">
                <a:off x="1180863" y="3666833"/>
                <a:ext cx="269875" cy="296863"/>
                <a:chOff x="5961065" y="3280569"/>
                <a:chExt cx="269875" cy="296863"/>
              </a:xfrm>
            </p:grpSpPr>
            <p:sp>
              <p:nvSpPr>
                <p:cNvPr id="61"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62"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nvGrpSpPr>
            <p:cNvPr id="63" name="Group 62"/>
            <p:cNvGrpSpPr/>
            <p:nvPr/>
          </p:nvGrpSpPr>
          <p:grpSpPr>
            <a:xfrm>
              <a:off x="6757081" y="2901340"/>
              <a:ext cx="2205337" cy="269875"/>
              <a:chOff x="177843" y="3680327"/>
              <a:chExt cx="2275914" cy="269875"/>
            </a:xfrm>
          </p:grpSpPr>
          <p:cxnSp>
            <p:nvCxnSpPr>
              <p:cNvPr id="64" name="Straight Connector 63"/>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65" name="Group 64"/>
              <p:cNvGrpSpPr/>
              <p:nvPr/>
            </p:nvGrpSpPr>
            <p:grpSpPr>
              <a:xfrm rot="5400000" flipV="1">
                <a:off x="1180863" y="3666833"/>
                <a:ext cx="269875" cy="296863"/>
                <a:chOff x="5961065" y="3280569"/>
                <a:chExt cx="269875" cy="296863"/>
              </a:xfrm>
            </p:grpSpPr>
            <p:sp>
              <p:nvSpPr>
                <p:cNvPr id="66"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67"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nvGrpSpPr>
            <p:cNvPr id="68" name="Group 67"/>
            <p:cNvGrpSpPr/>
            <p:nvPr/>
          </p:nvGrpSpPr>
          <p:grpSpPr>
            <a:xfrm>
              <a:off x="1680790" y="2901340"/>
              <a:ext cx="2205337" cy="269875"/>
              <a:chOff x="177843" y="3680327"/>
              <a:chExt cx="2275914" cy="269875"/>
            </a:xfrm>
          </p:grpSpPr>
          <p:cxnSp>
            <p:nvCxnSpPr>
              <p:cNvPr id="69" name="Straight Connector 68"/>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rot="5400000" flipV="1">
                <a:off x="1180863" y="3666833"/>
                <a:ext cx="269875" cy="296863"/>
                <a:chOff x="5961065" y="3280569"/>
                <a:chExt cx="269875" cy="296863"/>
              </a:xfrm>
            </p:grpSpPr>
            <p:sp>
              <p:nvSpPr>
                <p:cNvPr id="71"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72"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nvGrpSpPr>
            <p:cNvPr id="73" name="Group 72"/>
            <p:cNvGrpSpPr/>
            <p:nvPr/>
          </p:nvGrpSpPr>
          <p:grpSpPr>
            <a:xfrm>
              <a:off x="9295226" y="2901340"/>
              <a:ext cx="2205337" cy="269875"/>
              <a:chOff x="177843" y="3680327"/>
              <a:chExt cx="2275914" cy="269875"/>
            </a:xfrm>
          </p:grpSpPr>
          <p:cxnSp>
            <p:nvCxnSpPr>
              <p:cNvPr id="74" name="Straight Connector 73"/>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rot="5400000" flipV="1">
                <a:off x="1180863" y="3666833"/>
                <a:ext cx="269875" cy="296863"/>
                <a:chOff x="5961065" y="3280569"/>
                <a:chExt cx="269875" cy="296863"/>
              </a:xfrm>
            </p:grpSpPr>
            <p:sp>
              <p:nvSpPr>
                <p:cNvPr id="76"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77"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spTree>
    <p:custDataLst>
      <p:tags r:id="rId2"/>
    </p:custDataLst>
    <p:extLst>
      <p:ext uri="{BB962C8B-B14F-4D97-AF65-F5344CB8AC3E}">
        <p14:creationId xmlns:p14="http://schemas.microsoft.com/office/powerpoint/2010/main" val="2169178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1680790" y="1777928"/>
            <a:ext cx="9819773" cy="1479423"/>
            <a:chOff x="1680790" y="1696905"/>
            <a:chExt cx="9819773" cy="1479423"/>
          </a:xfrm>
        </p:grpSpPr>
        <p:sp>
          <p:nvSpPr>
            <p:cNvPr id="26" name="ee4pContent1"/>
            <p:cNvSpPr txBox="1"/>
            <p:nvPr/>
          </p:nvSpPr>
          <p:spPr>
            <a:xfrm>
              <a:off x="1680790" y="1696905"/>
              <a:ext cx="2168029"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S</a:t>
              </a:r>
              <a:r>
                <a:rPr lang="en-US" dirty="0" smtClean="0"/>
                <a:t>tores </a:t>
              </a:r>
              <a:r>
                <a:rPr lang="en-US" dirty="0"/>
                <a:t>all available cases and classifies new cases by a majority vote of its </a:t>
              </a:r>
              <a:r>
                <a:rPr lang="en-US" dirty="0" smtClean="0"/>
                <a:t>"k" neighbors, using a distance function</a:t>
              </a:r>
              <a:endParaRPr lang="en-US" dirty="0"/>
            </a:p>
          </p:txBody>
        </p:sp>
        <p:sp>
          <p:nvSpPr>
            <p:cNvPr id="27" name="ee4pContent2"/>
            <p:cNvSpPr txBox="1"/>
            <p:nvPr/>
          </p:nvSpPr>
          <p:spPr>
            <a:xfrm>
              <a:off x="4237956"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Fits a number of decision trees on various sub-samples of datasets and uses average to improve the predictive accuracy</a:t>
              </a:r>
              <a:endParaRPr lang="en-US" dirty="0"/>
            </a:p>
          </p:txBody>
        </p:sp>
        <p:sp>
          <p:nvSpPr>
            <p:cNvPr id="28" name="ee4pContent3"/>
            <p:cNvSpPr txBox="1"/>
            <p:nvPr/>
          </p:nvSpPr>
          <p:spPr>
            <a:xfrm>
              <a:off x="6770030"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E</a:t>
              </a:r>
              <a:r>
                <a:rPr lang="en-US" dirty="0" smtClean="0"/>
                <a:t>nsemble </a:t>
              </a:r>
              <a:r>
                <a:rPr lang="en-US" dirty="0"/>
                <a:t>of learning algorithms which combines the prediction of several base estimators in order to improve robustness over a single </a:t>
              </a:r>
              <a:r>
                <a:rPr lang="en-US" dirty="0" smtClean="0"/>
                <a:t>estimator</a:t>
              </a:r>
              <a:endParaRPr lang="en-US" dirty="0">
                <a:latin typeface="+mn-lt"/>
              </a:endParaRPr>
            </a:p>
          </p:txBody>
        </p:sp>
        <p:sp>
          <p:nvSpPr>
            <p:cNvPr id="29" name="ee4pContent4"/>
            <p:cNvSpPr txBox="1"/>
            <p:nvPr/>
          </p:nvSpPr>
          <p:spPr>
            <a:xfrm>
              <a:off x="9302105"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O</a:t>
              </a:r>
              <a:r>
                <a:rPr lang="en-US" dirty="0" smtClean="0"/>
                <a:t>ptimized </a:t>
              </a:r>
              <a:r>
                <a:rPr lang="en-US" dirty="0"/>
                <a:t>distributed gradient boosting </a:t>
              </a:r>
              <a:r>
                <a:rPr lang="en-US" dirty="0" smtClean="0"/>
                <a:t>library that provides parallel </a:t>
              </a:r>
              <a:r>
                <a:rPr lang="en-US" dirty="0"/>
                <a:t>tree boosting</a:t>
              </a:r>
              <a:endParaRPr lang="en-US" dirty="0">
                <a:latin typeface="+mn-lt"/>
              </a:endParaRPr>
            </a:p>
          </p:txBody>
        </p:sp>
      </p:grpSp>
      <p:sp>
        <p:nvSpPr>
          <p:cNvPr id="14" name="ee4pHeader1"/>
          <p:cNvSpPr txBox="1"/>
          <p:nvPr/>
        </p:nvSpPr>
        <p:spPr>
          <a:xfrm>
            <a:off x="1873751" y="1051961"/>
            <a:ext cx="2418304" cy="658368"/>
          </a:xfrm>
          <a:prstGeom prst="rect">
            <a:avLst/>
          </a:prstGeom>
          <a:noFill/>
          <a:ln cap="rnd">
            <a:noFill/>
          </a:ln>
        </p:spPr>
        <p:txBody>
          <a:bodyPr wrap="square" lIns="0" tIns="0" rIns="0" bIns="0" rtlCol="0" anchor="b" anchorCtr="0">
            <a:noAutofit/>
          </a:bodyPr>
          <a:lstStyle/>
          <a:p>
            <a:pPr marL="0" lvl="3"/>
            <a:r>
              <a:rPr lang="en-US" sz="1600" dirty="0">
                <a:solidFill>
                  <a:schemeClr val="tx2"/>
                </a:solidFill>
              </a:rPr>
              <a:t>K-Nearest </a:t>
            </a:r>
            <a:r>
              <a:rPr lang="en-US" sz="1600" dirty="0" smtClean="0">
                <a:solidFill>
                  <a:schemeClr val="tx2"/>
                </a:solidFill>
              </a:rPr>
              <a:t>Neighbours</a:t>
            </a:r>
            <a:endParaRPr lang="en-US" sz="1600" dirty="0">
              <a:solidFill>
                <a:schemeClr val="tx2"/>
              </a:solidFill>
            </a:endParaRPr>
          </a:p>
          <a:p>
            <a:pPr marL="0" lvl="3"/>
            <a:endParaRPr lang="en-US" sz="1600" dirty="0">
              <a:solidFill>
                <a:schemeClr val="tx2"/>
              </a:solidFill>
            </a:endParaRPr>
          </a:p>
        </p:txBody>
      </p:sp>
      <p:sp>
        <p:nvSpPr>
          <p:cNvPr id="16" name="ee4pHeader2"/>
          <p:cNvSpPr txBox="1"/>
          <p:nvPr/>
        </p:nvSpPr>
        <p:spPr>
          <a:xfrm>
            <a:off x="4408812" y="1051961"/>
            <a:ext cx="2418304" cy="658368"/>
          </a:xfrm>
          <a:prstGeom prst="rect">
            <a:avLst/>
          </a:prstGeom>
          <a:noFill/>
          <a:ln cap="rnd">
            <a:noFill/>
          </a:ln>
        </p:spPr>
        <p:txBody>
          <a:bodyPr wrap="square" lIns="0" tIns="0" rIns="0" bIns="0" rtlCol="0" anchor="b" anchorCtr="0">
            <a:noAutofit/>
          </a:bodyPr>
          <a:lstStyle/>
          <a:p>
            <a:pPr marL="0" lvl="3"/>
            <a:r>
              <a:rPr lang="en-US" sz="1600" dirty="0">
                <a:solidFill>
                  <a:schemeClr val="tx2"/>
                </a:solidFill>
              </a:rPr>
              <a:t>Random Forest</a:t>
            </a:r>
          </a:p>
          <a:p>
            <a:pPr marL="0" lvl="3"/>
            <a:endParaRPr lang="en-US" sz="1600" dirty="0">
              <a:solidFill>
                <a:schemeClr val="tx2"/>
              </a:solidFill>
            </a:endParaRPr>
          </a:p>
        </p:txBody>
      </p:sp>
      <p:sp>
        <p:nvSpPr>
          <p:cNvPr id="18" name="ee4pHeader3"/>
          <p:cNvSpPr txBox="1"/>
          <p:nvPr/>
        </p:nvSpPr>
        <p:spPr>
          <a:xfrm>
            <a:off x="6934912" y="1051961"/>
            <a:ext cx="2418304" cy="658368"/>
          </a:xfrm>
          <a:prstGeom prst="rect">
            <a:avLst/>
          </a:prstGeom>
          <a:noFill/>
          <a:ln cap="rnd">
            <a:noFill/>
          </a:ln>
        </p:spPr>
        <p:txBody>
          <a:bodyPr wrap="square" lIns="0" tIns="0" rIns="0" bIns="0" rtlCol="0" anchor="b" anchorCtr="0">
            <a:noAutofit/>
          </a:bodyPr>
          <a:lstStyle/>
          <a:p>
            <a:pPr marL="0" lvl="3"/>
            <a:r>
              <a:rPr lang="en-US" sz="1600">
                <a:solidFill>
                  <a:schemeClr val="tx2"/>
                </a:solidFill>
              </a:rPr>
              <a:t>Gradient Boosting Classifier</a:t>
            </a:r>
            <a:endParaRPr lang="en-US" sz="1600" dirty="0">
              <a:solidFill>
                <a:schemeClr val="tx2"/>
              </a:solidFill>
            </a:endParaRPr>
          </a:p>
        </p:txBody>
      </p:sp>
      <p:sp>
        <p:nvSpPr>
          <p:cNvPr id="20" name="ee4pHeader4"/>
          <p:cNvSpPr txBox="1"/>
          <p:nvPr/>
        </p:nvSpPr>
        <p:spPr>
          <a:xfrm>
            <a:off x="9469974" y="1051961"/>
            <a:ext cx="2418304" cy="658368"/>
          </a:xfrm>
          <a:prstGeom prst="rect">
            <a:avLst/>
          </a:prstGeom>
          <a:noFill/>
          <a:ln cap="rnd">
            <a:noFill/>
          </a:ln>
        </p:spPr>
        <p:txBody>
          <a:bodyPr wrap="square" lIns="0" tIns="0" rIns="0" bIns="0" rtlCol="0" anchor="b" anchorCtr="0">
            <a:noAutofit/>
          </a:bodyPr>
          <a:lstStyle/>
          <a:p>
            <a:pPr marL="0" lvl="3"/>
            <a:r>
              <a:rPr lang="en-US" sz="1600" dirty="0" smtClean="0">
                <a:solidFill>
                  <a:schemeClr val="tx2"/>
                </a:solidFill>
              </a:rPr>
              <a:t>XGBoost</a:t>
            </a:r>
          </a:p>
          <a:p>
            <a:pPr marL="0" lvl="3"/>
            <a:endParaRPr lang="en-US" sz="1600" dirty="0">
              <a:solidFill>
                <a:schemeClr val="tx2"/>
              </a:solidFill>
            </a:endParaRPr>
          </a:p>
        </p:txBody>
      </p:sp>
      <p:sp>
        <p:nvSpPr>
          <p:cNvPr id="2" name="Title 1"/>
          <p:cNvSpPr>
            <a:spLocks noGrp="1"/>
          </p:cNvSpPr>
          <p:nvPr>
            <p:ph type="title"/>
          </p:nvPr>
        </p:nvSpPr>
        <p:spPr/>
        <p:txBody>
          <a:bodyPr/>
          <a:lstStyle/>
          <a:p>
            <a:r>
              <a:rPr lang="en-US" dirty="0" smtClean="0"/>
              <a:t>Comparison of Classification algorithms – Part 2</a:t>
            </a:r>
            <a:endParaRPr lang="en-US" dirty="0"/>
          </a:p>
        </p:txBody>
      </p:sp>
      <p:sp>
        <p:nvSpPr>
          <p:cNvPr id="22" name="Freeform 51"/>
          <p:cNvSpPr>
            <a:spLocks/>
          </p:cNvSpPr>
          <p:nvPr/>
        </p:nvSpPr>
        <p:spPr bwMode="auto">
          <a:xfrm rot="5400000" flipV="1">
            <a:off x="1276347" y="3813502"/>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nvGrpSpPr>
          <p:cNvPr id="21" name="Group 20"/>
          <p:cNvGrpSpPr/>
          <p:nvPr/>
        </p:nvGrpSpPr>
        <p:grpSpPr>
          <a:xfrm>
            <a:off x="1680790" y="4963276"/>
            <a:ext cx="9819773" cy="0"/>
            <a:chOff x="1680790" y="3445067"/>
            <a:chExt cx="9653650" cy="0"/>
          </a:xfrm>
        </p:grpSpPr>
        <p:cxnSp>
          <p:nvCxnSpPr>
            <p:cNvPr id="23" name="Straight Connector 22"/>
            <p:cNvCxnSpPr/>
            <p:nvPr/>
          </p:nvCxnSpPr>
          <p:spPr>
            <a:xfrm>
              <a:off x="1680790" y="3445067"/>
              <a:ext cx="2168029"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175997" y="3445067"/>
              <a:ext cx="2168029"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671204" y="3445067"/>
              <a:ext cx="2168029"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9166411" y="3445067"/>
              <a:ext cx="2168029" cy="0"/>
            </a:xfrm>
            <a:prstGeom prst="line">
              <a:avLst/>
            </a:prstGeom>
            <a:ln w="222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1" name="Group 30"/>
          <p:cNvGrpSpPr/>
          <p:nvPr/>
        </p:nvGrpSpPr>
        <p:grpSpPr>
          <a:xfrm>
            <a:off x="1680790" y="3146052"/>
            <a:ext cx="9819773" cy="1010466"/>
            <a:chOff x="1680790" y="1696905"/>
            <a:chExt cx="9819773" cy="1479423"/>
          </a:xfrm>
        </p:grpSpPr>
        <p:sp>
          <p:nvSpPr>
            <p:cNvPr id="35" name="ee4pContent1"/>
            <p:cNvSpPr txBox="1"/>
            <p:nvPr/>
          </p:nvSpPr>
          <p:spPr>
            <a:xfrm>
              <a:off x="1680790" y="1696905"/>
              <a:ext cx="2168029"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Easy to interpret outputs</a:t>
              </a:r>
            </a:p>
            <a:p>
              <a:endParaRPr lang="en-US" dirty="0" smtClean="0"/>
            </a:p>
            <a:p>
              <a:r>
                <a:rPr lang="en-US" dirty="0" smtClean="0"/>
                <a:t>Can </a:t>
              </a:r>
              <a:r>
                <a:rPr lang="en-US" dirty="0"/>
                <a:t>naturally handle extreme multiclass problems </a:t>
              </a:r>
              <a:endParaRPr lang="en-US" dirty="0" smtClean="0">
                <a:latin typeface="+mn-lt"/>
              </a:endParaRPr>
            </a:p>
            <a:p>
              <a:endParaRPr lang="en-US" dirty="0" smtClean="0">
                <a:latin typeface="+mn-lt"/>
              </a:endParaRPr>
            </a:p>
            <a:p>
              <a:r>
                <a:rPr lang="en-US" dirty="0"/>
                <a:t>W</a:t>
              </a:r>
              <a:r>
                <a:rPr lang="en-US" dirty="0" smtClean="0"/>
                <a:t>orks </a:t>
              </a:r>
              <a:r>
                <a:rPr lang="en-US" dirty="0"/>
                <a:t>well with a small number of input variables</a:t>
              </a:r>
              <a:endParaRPr lang="en-US" dirty="0">
                <a:latin typeface="+mn-lt"/>
              </a:endParaRPr>
            </a:p>
          </p:txBody>
        </p:sp>
        <p:sp>
          <p:nvSpPr>
            <p:cNvPr id="36" name="ee4pContent2"/>
            <p:cNvSpPr txBox="1"/>
            <p:nvPr/>
          </p:nvSpPr>
          <p:spPr>
            <a:xfrm>
              <a:off x="4237956"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Reduces </a:t>
              </a:r>
              <a:r>
                <a:rPr lang="en-US" dirty="0"/>
                <a:t>v</a:t>
              </a:r>
              <a:r>
                <a:rPr lang="en-US" dirty="0" smtClean="0"/>
                <a:t>ariance and avoids overfitting</a:t>
              </a:r>
            </a:p>
            <a:p>
              <a:endParaRPr lang="en-US" dirty="0" smtClean="0"/>
            </a:p>
            <a:p>
              <a:r>
                <a:rPr lang="en-US" dirty="0" smtClean="0"/>
                <a:t>Works well with missing data and outliers</a:t>
              </a:r>
            </a:p>
            <a:p>
              <a:endParaRPr lang="en-US" dirty="0">
                <a:latin typeface="+mn-lt"/>
              </a:endParaRPr>
            </a:p>
            <a:p>
              <a:r>
                <a:rPr lang="en-US" dirty="0" smtClean="0">
                  <a:latin typeface="+mn-lt"/>
                </a:rPr>
                <a:t>Robust, fast and accurate performance </a:t>
              </a:r>
            </a:p>
            <a:p>
              <a:endParaRPr lang="en-US" dirty="0">
                <a:latin typeface="+mn-lt"/>
              </a:endParaRPr>
            </a:p>
            <a:p>
              <a:endParaRPr lang="en-US" dirty="0">
                <a:latin typeface="+mn-lt"/>
              </a:endParaRPr>
            </a:p>
          </p:txBody>
        </p:sp>
        <p:sp>
          <p:nvSpPr>
            <p:cNvPr id="37" name="ee4pContent3"/>
            <p:cNvSpPr txBox="1"/>
            <p:nvPr/>
          </p:nvSpPr>
          <p:spPr>
            <a:xfrm>
              <a:off x="6770030"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t>Generally performs extremely well</a:t>
              </a:r>
            </a:p>
            <a:p>
              <a:endParaRPr lang="en-US" dirty="0"/>
            </a:p>
            <a:p>
              <a:r>
                <a:rPr lang="en-US" dirty="0"/>
                <a:t>R</a:t>
              </a:r>
              <a:r>
                <a:rPr lang="en-US" dirty="0" smtClean="0"/>
                <a:t>obust </a:t>
              </a:r>
              <a:r>
                <a:rPr lang="en-US" dirty="0"/>
                <a:t>to outliers, </a:t>
              </a:r>
              <a:r>
                <a:rPr lang="en-US" dirty="0" smtClean="0"/>
                <a:t>scalable and</a:t>
              </a:r>
            </a:p>
            <a:p>
              <a:r>
                <a:rPr lang="en-US" dirty="0" smtClean="0"/>
                <a:t>smaller datasets</a:t>
              </a:r>
            </a:p>
            <a:p>
              <a:endParaRPr lang="en-US" dirty="0"/>
            </a:p>
            <a:p>
              <a:r>
                <a:rPr lang="en-US" dirty="0"/>
                <a:t>A</a:t>
              </a:r>
              <a:r>
                <a:rPr lang="en-US" dirty="0" smtClean="0"/>
                <a:t>ble </a:t>
              </a:r>
              <a:r>
                <a:rPr lang="en-US" dirty="0"/>
                <a:t>to </a:t>
              </a:r>
              <a:r>
                <a:rPr lang="en-US" dirty="0" smtClean="0"/>
                <a:t>model </a:t>
              </a:r>
              <a:r>
                <a:rPr lang="en-US" dirty="0"/>
                <a:t>non-linear decision boundaries thanks to their hierarchical structure</a:t>
              </a:r>
            </a:p>
            <a:p>
              <a:endParaRPr lang="en-US" dirty="0">
                <a:latin typeface="+mn-lt"/>
              </a:endParaRPr>
            </a:p>
          </p:txBody>
        </p:sp>
        <p:sp>
          <p:nvSpPr>
            <p:cNvPr id="38" name="ee4pContent4"/>
            <p:cNvSpPr txBox="1"/>
            <p:nvPr/>
          </p:nvSpPr>
          <p:spPr>
            <a:xfrm>
              <a:off x="9302105"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Highly </a:t>
              </a:r>
              <a:r>
                <a:rPr lang="en-US" dirty="0">
                  <a:latin typeface="+mn-lt"/>
                </a:rPr>
                <a:t>efficient, flexible and </a:t>
              </a:r>
              <a:r>
                <a:rPr lang="en-US" dirty="0" smtClean="0">
                  <a:latin typeface="+mn-lt"/>
                </a:rPr>
                <a:t>scalable</a:t>
              </a:r>
            </a:p>
            <a:p>
              <a:endParaRPr lang="en-US" dirty="0" smtClean="0">
                <a:latin typeface="+mn-lt"/>
              </a:endParaRPr>
            </a:p>
            <a:p>
              <a:r>
                <a:rPr lang="en-US" dirty="0" smtClean="0"/>
                <a:t>Immensely </a:t>
              </a:r>
              <a:r>
                <a:rPr lang="en-US" dirty="0"/>
                <a:t>high predictive </a:t>
              </a:r>
              <a:r>
                <a:rPr lang="en-US" dirty="0" smtClean="0"/>
                <a:t>power</a:t>
              </a:r>
            </a:p>
            <a:p>
              <a:endParaRPr lang="en-US" dirty="0" smtClean="0">
                <a:latin typeface="+mn-lt"/>
              </a:endParaRPr>
            </a:p>
            <a:p>
              <a:pPr>
                <a:buNone/>
              </a:pPr>
              <a:endParaRPr lang="en-US" dirty="0">
                <a:latin typeface="+mn-lt"/>
              </a:endParaRPr>
            </a:p>
            <a:p>
              <a:endParaRPr lang="en-US" dirty="0">
                <a:latin typeface="+mn-lt"/>
              </a:endParaRPr>
            </a:p>
          </p:txBody>
        </p:sp>
      </p:grpSp>
      <p:grpSp>
        <p:nvGrpSpPr>
          <p:cNvPr id="39" name="Group 38"/>
          <p:cNvGrpSpPr/>
          <p:nvPr/>
        </p:nvGrpSpPr>
        <p:grpSpPr>
          <a:xfrm>
            <a:off x="1680790" y="5098698"/>
            <a:ext cx="9819773" cy="1010466"/>
            <a:chOff x="1680790" y="1696905"/>
            <a:chExt cx="9819773" cy="1479423"/>
          </a:xfrm>
        </p:grpSpPr>
        <p:sp>
          <p:nvSpPr>
            <p:cNvPr id="40" name="ee4pContent1"/>
            <p:cNvSpPr txBox="1"/>
            <p:nvPr/>
          </p:nvSpPr>
          <p:spPr>
            <a:xfrm>
              <a:off x="1680790" y="1696905"/>
              <a:ext cx="2168029"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C</a:t>
              </a:r>
              <a:r>
                <a:rPr lang="en-US" dirty="0" smtClean="0"/>
                <a:t>omputationally expensive</a:t>
              </a:r>
            </a:p>
            <a:p>
              <a:endParaRPr lang="en-US" dirty="0">
                <a:latin typeface="+mn-lt"/>
              </a:endParaRPr>
            </a:p>
            <a:p>
              <a:pPr fontAlgn="base"/>
              <a:r>
                <a:rPr lang="en-US" dirty="0"/>
                <a:t>Can fail to predict correctly </a:t>
              </a:r>
              <a:r>
                <a:rPr lang="en-US" dirty="0" smtClean="0"/>
                <a:t>in high dimensional data</a:t>
              </a:r>
              <a:endParaRPr lang="en-US" dirty="0"/>
            </a:p>
            <a:p>
              <a:pPr>
                <a:buNone/>
              </a:pPr>
              <a:endParaRPr lang="en-US" dirty="0">
                <a:latin typeface="+mn-lt"/>
              </a:endParaRPr>
            </a:p>
          </p:txBody>
        </p:sp>
        <p:sp>
          <p:nvSpPr>
            <p:cNvPr id="41" name="ee4pContent2"/>
            <p:cNvSpPr txBox="1"/>
            <p:nvPr/>
          </p:nvSpPr>
          <p:spPr>
            <a:xfrm>
              <a:off x="4237956"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t>large number of trees </a:t>
              </a:r>
              <a:r>
                <a:rPr lang="en-US" dirty="0" smtClean="0"/>
                <a:t>results in slow performance, not ideal for </a:t>
              </a:r>
              <a:r>
                <a:rPr lang="en-US" dirty="0"/>
                <a:t>real-time </a:t>
              </a:r>
              <a:r>
                <a:rPr lang="en-US" dirty="0" smtClean="0"/>
                <a:t>predictions</a:t>
              </a:r>
            </a:p>
            <a:p>
              <a:endParaRPr lang="en-US" dirty="0" smtClean="0">
                <a:latin typeface="+mn-lt"/>
              </a:endParaRPr>
            </a:p>
            <a:p>
              <a:r>
                <a:rPr lang="en-US" dirty="0" smtClean="0"/>
                <a:t>Less interpretability</a:t>
              </a:r>
              <a:endParaRPr lang="en-US" dirty="0"/>
            </a:p>
            <a:p>
              <a:endParaRPr lang="en-US" dirty="0" smtClean="0">
                <a:latin typeface="+mn-lt"/>
              </a:endParaRPr>
            </a:p>
            <a:p>
              <a:pPr fontAlgn="base"/>
              <a:r>
                <a:rPr lang="en-US" dirty="0"/>
                <a:t>Biased in multiclass problems toward more frequent classes</a:t>
              </a:r>
            </a:p>
          </p:txBody>
        </p:sp>
        <p:sp>
          <p:nvSpPr>
            <p:cNvPr id="42" name="ee4pContent3"/>
            <p:cNvSpPr txBox="1"/>
            <p:nvPr/>
          </p:nvSpPr>
          <p:spPr>
            <a:xfrm>
              <a:off x="6770030"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buNone/>
              </a:pPr>
              <a:r>
                <a:rPr lang="en-US" dirty="0" smtClean="0"/>
                <a:t>Sensitive </a:t>
              </a:r>
              <a:r>
                <a:rPr lang="en-US" dirty="0"/>
                <a:t>to overfitting if the data is </a:t>
              </a:r>
              <a:r>
                <a:rPr lang="en-US" dirty="0" smtClean="0"/>
                <a:t>noisy</a:t>
              </a:r>
            </a:p>
            <a:p>
              <a:pPr>
                <a:buNone/>
              </a:pPr>
              <a:endParaRPr lang="en-US" dirty="0">
                <a:latin typeface="+mn-lt"/>
              </a:endParaRPr>
            </a:p>
            <a:p>
              <a:pPr>
                <a:buNone/>
              </a:pPr>
              <a:r>
                <a:rPr lang="en-US" dirty="0"/>
                <a:t>Training generally takes longer because of the fact that trees are built </a:t>
              </a:r>
              <a:r>
                <a:rPr lang="en-US" dirty="0" smtClean="0"/>
                <a:t>sequentially</a:t>
              </a:r>
            </a:p>
            <a:p>
              <a:pPr>
                <a:buNone/>
              </a:pPr>
              <a:endParaRPr lang="en-US" dirty="0">
                <a:latin typeface="+mn-lt"/>
              </a:endParaRPr>
            </a:p>
            <a:p>
              <a:pPr>
                <a:buNone/>
              </a:pPr>
              <a:r>
                <a:rPr lang="en-US" dirty="0" smtClean="0"/>
                <a:t>Harder </a:t>
              </a:r>
              <a:r>
                <a:rPr lang="en-US" dirty="0"/>
                <a:t>to </a:t>
              </a:r>
              <a:r>
                <a:rPr lang="en-US" dirty="0" smtClean="0"/>
                <a:t>tune parameters</a:t>
              </a:r>
              <a:endParaRPr lang="en-US" dirty="0">
                <a:latin typeface="+mn-lt"/>
              </a:endParaRPr>
            </a:p>
          </p:txBody>
        </p:sp>
        <p:sp>
          <p:nvSpPr>
            <p:cNvPr id="43" name="ee4pContent4"/>
            <p:cNvSpPr txBox="1"/>
            <p:nvPr/>
          </p:nvSpPr>
          <p:spPr>
            <a:xfrm>
              <a:off x="9302105" y="1696905"/>
              <a:ext cx="2198458" cy="1479423"/>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err="1" smtClean="0">
                  <a:latin typeface="+mn-lt"/>
                </a:rPr>
                <a:t>Blackbox</a:t>
              </a:r>
              <a:r>
                <a:rPr lang="en-US" dirty="0" smtClean="0">
                  <a:latin typeface="+mn-lt"/>
                </a:rPr>
                <a:t> – not much interpretability</a:t>
              </a:r>
              <a:endParaRPr lang="en-US" dirty="0">
                <a:latin typeface="+mn-lt"/>
              </a:endParaRPr>
            </a:p>
          </p:txBody>
        </p:sp>
      </p:grpSp>
      <p:sp>
        <p:nvSpPr>
          <p:cNvPr id="47" name="TextColumnContent"/>
          <p:cNvSpPr>
            <a:spLocks noChangeArrowheads="1"/>
          </p:cNvSpPr>
          <p:nvPr/>
        </p:nvSpPr>
        <p:spPr bwMode="gray">
          <a:xfrm>
            <a:off x="17315" y="5419307"/>
            <a:ext cx="1554480" cy="430865"/>
          </a:xfrm>
          <a:prstGeom prst="rect">
            <a:avLst/>
          </a:prstGeom>
          <a:noFill/>
          <a:ln w="9525" algn="ctr">
            <a:noFill/>
            <a:miter lim="800000"/>
            <a:headEnd/>
            <a:tailEnd/>
          </a:ln>
          <a:effectLst/>
        </p:spPr>
        <p:txBody>
          <a:bodyPr lIns="91429" tIns="91429" rIns="91429" bIns="91429">
            <a:spAutoFit/>
          </a:bodyPr>
          <a:lstStyle/>
          <a:p>
            <a:pPr algn="ctr"/>
            <a:r>
              <a:rPr lang="en-US" sz="1600" dirty="0" smtClean="0">
                <a:solidFill>
                  <a:schemeClr val="tx2"/>
                </a:solidFill>
                <a:sym typeface="Trebuchet MS" panose="020B0603020202020204" pitchFamily="34" charset="0"/>
              </a:rPr>
              <a:t>Limitations</a:t>
            </a:r>
            <a:endParaRPr lang="en-US" sz="1600" dirty="0">
              <a:solidFill>
                <a:schemeClr val="tx2"/>
              </a:solidFill>
              <a:sym typeface="Trebuchet MS" panose="020B0603020202020204" pitchFamily="34" charset="0"/>
            </a:endParaRPr>
          </a:p>
        </p:txBody>
      </p:sp>
      <p:sp>
        <p:nvSpPr>
          <p:cNvPr id="48" name="TextColumnContent"/>
          <p:cNvSpPr>
            <a:spLocks noChangeArrowheads="1"/>
          </p:cNvSpPr>
          <p:nvPr/>
        </p:nvSpPr>
        <p:spPr bwMode="gray">
          <a:xfrm>
            <a:off x="17315" y="3698668"/>
            <a:ext cx="1554480" cy="430865"/>
          </a:xfrm>
          <a:prstGeom prst="rect">
            <a:avLst/>
          </a:prstGeom>
          <a:noFill/>
          <a:ln w="9525" algn="ctr">
            <a:noFill/>
            <a:miter lim="800000"/>
            <a:headEnd/>
            <a:tailEnd/>
          </a:ln>
          <a:effectLst/>
        </p:spPr>
        <p:txBody>
          <a:bodyPr lIns="91429" tIns="91429" rIns="91429" bIns="91429">
            <a:spAutoFit/>
          </a:bodyPr>
          <a:lstStyle/>
          <a:p>
            <a:pPr algn="ctr"/>
            <a:r>
              <a:rPr lang="en-US" sz="1600" dirty="0" smtClean="0">
                <a:solidFill>
                  <a:schemeClr val="tx2"/>
                </a:solidFill>
                <a:sym typeface="Trebuchet MS" panose="020B0603020202020204" pitchFamily="34" charset="0"/>
              </a:rPr>
              <a:t>Benefits</a:t>
            </a:r>
            <a:endParaRPr lang="en-US" sz="1600" dirty="0">
              <a:solidFill>
                <a:schemeClr val="tx2"/>
              </a:solidFill>
              <a:sym typeface="Trebuchet MS" panose="020B0603020202020204" pitchFamily="34" charset="0"/>
            </a:endParaRPr>
          </a:p>
        </p:txBody>
      </p:sp>
      <p:sp>
        <p:nvSpPr>
          <p:cNvPr id="49" name="TextColumnContent"/>
          <p:cNvSpPr>
            <a:spLocks noChangeArrowheads="1"/>
          </p:cNvSpPr>
          <p:nvPr/>
        </p:nvSpPr>
        <p:spPr bwMode="gray">
          <a:xfrm>
            <a:off x="17315" y="1843771"/>
            <a:ext cx="1554480" cy="677086"/>
          </a:xfrm>
          <a:prstGeom prst="rect">
            <a:avLst/>
          </a:prstGeom>
          <a:noFill/>
          <a:ln w="9525" algn="ctr">
            <a:noFill/>
            <a:miter lim="800000"/>
            <a:headEnd/>
            <a:tailEnd/>
          </a:ln>
          <a:effectLst/>
        </p:spPr>
        <p:txBody>
          <a:bodyPr lIns="91429" tIns="91429" rIns="91429" bIns="91429">
            <a:spAutoFit/>
          </a:bodyPr>
          <a:lstStyle/>
          <a:p>
            <a:pPr algn="ctr"/>
            <a:r>
              <a:rPr lang="en-US" sz="1600" dirty="0" smtClean="0">
                <a:solidFill>
                  <a:schemeClr val="tx2"/>
                </a:solidFill>
                <a:sym typeface="Trebuchet MS" panose="020B0603020202020204" pitchFamily="34" charset="0"/>
              </a:rPr>
              <a:t>Key</a:t>
            </a:r>
          </a:p>
          <a:p>
            <a:pPr algn="ctr"/>
            <a:r>
              <a:rPr lang="en-US" sz="1200" dirty="0" smtClean="0">
                <a:latin typeface="Trebuchet MS" panose="020B0603020202020204" pitchFamily="34" charset="0"/>
                <a:cs typeface="Arial" pitchFamily="34" charset="0"/>
                <a:sym typeface="Trebuchet MS" panose="020B0603020202020204" pitchFamily="34" charset="0"/>
              </a:rPr>
              <a:t> </a:t>
            </a:r>
            <a:r>
              <a:rPr lang="en-US" sz="1600" dirty="0">
                <a:solidFill>
                  <a:schemeClr val="tx2"/>
                </a:solidFill>
                <a:sym typeface="Trebuchet MS" panose="020B0603020202020204" pitchFamily="34" charset="0"/>
              </a:rPr>
              <a:t>concept</a:t>
            </a:r>
          </a:p>
        </p:txBody>
      </p:sp>
      <p:grpSp>
        <p:nvGrpSpPr>
          <p:cNvPr id="50" name="Group 49"/>
          <p:cNvGrpSpPr/>
          <p:nvPr/>
        </p:nvGrpSpPr>
        <p:grpSpPr>
          <a:xfrm>
            <a:off x="1680790" y="2808740"/>
            <a:ext cx="9819773" cy="269875"/>
            <a:chOff x="1680790" y="2901340"/>
            <a:chExt cx="9819773" cy="269875"/>
          </a:xfrm>
        </p:grpSpPr>
        <p:grpSp>
          <p:nvGrpSpPr>
            <p:cNvPr id="51" name="Group 50"/>
            <p:cNvGrpSpPr/>
            <p:nvPr/>
          </p:nvGrpSpPr>
          <p:grpSpPr>
            <a:xfrm>
              <a:off x="4218935" y="2901340"/>
              <a:ext cx="2205337" cy="269875"/>
              <a:chOff x="177843" y="3680327"/>
              <a:chExt cx="2275914" cy="269875"/>
            </a:xfrm>
          </p:grpSpPr>
          <p:cxnSp>
            <p:nvCxnSpPr>
              <p:cNvPr id="67" name="Straight Connector 66"/>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68" name="Group 67"/>
              <p:cNvGrpSpPr/>
              <p:nvPr/>
            </p:nvGrpSpPr>
            <p:grpSpPr>
              <a:xfrm rot="5400000" flipV="1">
                <a:off x="1180863" y="3666833"/>
                <a:ext cx="269875" cy="296863"/>
                <a:chOff x="5961065" y="3280569"/>
                <a:chExt cx="269875" cy="296863"/>
              </a:xfrm>
            </p:grpSpPr>
            <p:sp>
              <p:nvSpPr>
                <p:cNvPr id="69"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70"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nvGrpSpPr>
            <p:cNvPr id="52" name="Group 51"/>
            <p:cNvGrpSpPr/>
            <p:nvPr/>
          </p:nvGrpSpPr>
          <p:grpSpPr>
            <a:xfrm>
              <a:off x="6757081" y="2901340"/>
              <a:ext cx="2205337" cy="269875"/>
              <a:chOff x="177843" y="3680327"/>
              <a:chExt cx="2275914" cy="269875"/>
            </a:xfrm>
          </p:grpSpPr>
          <p:cxnSp>
            <p:nvCxnSpPr>
              <p:cNvPr id="63" name="Straight Connector 62"/>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64" name="Group 63"/>
              <p:cNvGrpSpPr/>
              <p:nvPr/>
            </p:nvGrpSpPr>
            <p:grpSpPr>
              <a:xfrm rot="5400000" flipV="1">
                <a:off x="1180863" y="3666833"/>
                <a:ext cx="269875" cy="296863"/>
                <a:chOff x="5961065" y="3280569"/>
                <a:chExt cx="269875" cy="296863"/>
              </a:xfrm>
            </p:grpSpPr>
            <p:sp>
              <p:nvSpPr>
                <p:cNvPr id="65"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66"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nvGrpSpPr>
            <p:cNvPr id="53" name="Group 52"/>
            <p:cNvGrpSpPr/>
            <p:nvPr/>
          </p:nvGrpSpPr>
          <p:grpSpPr>
            <a:xfrm>
              <a:off x="1680790" y="2901340"/>
              <a:ext cx="2205337" cy="269875"/>
              <a:chOff x="177843" y="3680327"/>
              <a:chExt cx="2275914" cy="269875"/>
            </a:xfrm>
          </p:grpSpPr>
          <p:cxnSp>
            <p:nvCxnSpPr>
              <p:cNvPr id="59" name="Straight Connector 58"/>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rot="5400000" flipV="1">
                <a:off x="1180863" y="3666833"/>
                <a:ext cx="269875" cy="296863"/>
                <a:chOff x="5961065" y="3280569"/>
                <a:chExt cx="269875" cy="296863"/>
              </a:xfrm>
            </p:grpSpPr>
            <p:sp>
              <p:nvSpPr>
                <p:cNvPr id="61"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62"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nvGrpSpPr>
            <p:cNvPr id="54" name="Group 53"/>
            <p:cNvGrpSpPr/>
            <p:nvPr/>
          </p:nvGrpSpPr>
          <p:grpSpPr>
            <a:xfrm>
              <a:off x="9295226" y="2901340"/>
              <a:ext cx="2205337" cy="269875"/>
              <a:chOff x="177843" y="3680327"/>
              <a:chExt cx="2275914" cy="269875"/>
            </a:xfrm>
          </p:grpSpPr>
          <p:cxnSp>
            <p:nvCxnSpPr>
              <p:cNvPr id="55" name="Straight Connector 54"/>
              <p:cNvCxnSpPr/>
              <p:nvPr/>
            </p:nvCxnSpPr>
            <p:spPr>
              <a:xfrm>
                <a:off x="177843" y="3815263"/>
                <a:ext cx="2275914" cy="0"/>
              </a:xfrm>
              <a:prstGeom prst="line">
                <a:avLst/>
              </a:prstGeom>
              <a:ln w="254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56" name="Group 55"/>
              <p:cNvGrpSpPr/>
              <p:nvPr/>
            </p:nvGrpSpPr>
            <p:grpSpPr>
              <a:xfrm rot="5400000" flipV="1">
                <a:off x="1180863" y="3666833"/>
                <a:ext cx="269875" cy="296863"/>
                <a:chOff x="5961065" y="3280569"/>
                <a:chExt cx="269875" cy="296863"/>
              </a:xfrm>
            </p:grpSpPr>
            <p:sp>
              <p:nvSpPr>
                <p:cNvPr id="57" name="Oval 50"/>
                <p:cNvSpPr>
                  <a:spLocks noChangeArrowheads="1"/>
                </p:cNvSpPr>
                <p:nvPr/>
              </p:nvSpPr>
              <p:spPr bwMode="auto">
                <a:xfrm>
                  <a:off x="5961065" y="3280569"/>
                  <a:ext cx="269875" cy="2968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58" name="Freeform 51"/>
                <p:cNvSpPr>
                  <a:spLocks/>
                </p:cNvSpPr>
                <p:nvPr/>
              </p:nvSpPr>
              <p:spPr bwMode="auto">
                <a:xfrm>
                  <a:off x="6056237" y="3349626"/>
                  <a:ext cx="106521" cy="1587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grpSp>
    </p:spTree>
    <p:custDataLst>
      <p:tags r:id="rId1"/>
    </p:custDataLst>
    <p:extLst>
      <p:ext uri="{BB962C8B-B14F-4D97-AF65-F5344CB8AC3E}">
        <p14:creationId xmlns:p14="http://schemas.microsoft.com/office/powerpoint/2010/main" val="3824510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302353" y="351931"/>
            <a:ext cx="4919153" cy="775597"/>
          </a:xfrm>
        </p:spPr>
        <p:txBody>
          <a:bodyPr/>
          <a:lstStyle/>
          <a:p>
            <a:r>
              <a:rPr lang="en-US" sz="2800" dirty="0"/>
              <a:t>Key </a:t>
            </a:r>
            <a:r>
              <a:rPr lang="en-US" sz="2800" dirty="0" smtClean="0"/>
              <a:t>Performance metrics </a:t>
            </a:r>
            <a:r>
              <a:rPr lang="en-US" sz="2800" dirty="0"/>
              <a:t>for </a:t>
            </a:r>
            <a:br>
              <a:rPr lang="en-US" sz="2800" dirty="0"/>
            </a:br>
            <a:r>
              <a:rPr lang="en-US" sz="2800" dirty="0" smtClean="0"/>
              <a:t>Classification model</a:t>
            </a:r>
            <a:endParaRPr lang="en-US" sz="2800" dirty="0"/>
          </a:p>
        </p:txBody>
      </p:sp>
      <p:sp>
        <p:nvSpPr>
          <p:cNvPr id="4" name="Rectangle 3"/>
          <p:cNvSpPr/>
          <p:nvPr/>
        </p:nvSpPr>
        <p:spPr bwMode="auto">
          <a:xfrm>
            <a:off x="306935" y="1425085"/>
            <a:ext cx="2284463" cy="95880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641" tIns="44321" rIns="88641" bIns="44321" numCol="1" spcCol="0" rtlCol="0" fromWordArt="0" anchor="ctr" anchorCtr="0" forceAA="0" compatLnSpc="1">
            <a:prstTxWarp prst="textNoShape">
              <a:avLst/>
            </a:prstTxWarp>
            <a:noAutofit/>
          </a:bodyPr>
          <a:lstStyle/>
          <a:p>
            <a:pPr fontAlgn="base"/>
            <a:r>
              <a:rPr lang="en-US" dirty="0" smtClean="0">
                <a:solidFill>
                  <a:srgbClr val="FFFFFF"/>
                </a:solidFill>
              </a:rPr>
              <a:t>ROC</a:t>
            </a:r>
            <a:endParaRPr lang="en-US" dirty="0">
              <a:solidFill>
                <a:srgbClr val="FFFFFF"/>
              </a:solidFill>
            </a:endParaRPr>
          </a:p>
        </p:txBody>
      </p:sp>
      <p:sp>
        <p:nvSpPr>
          <p:cNvPr id="5" name="Rectangle 4"/>
          <p:cNvSpPr/>
          <p:nvPr/>
        </p:nvSpPr>
        <p:spPr bwMode="auto">
          <a:xfrm>
            <a:off x="306935" y="2735117"/>
            <a:ext cx="2284463" cy="406627"/>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641" tIns="44321" rIns="88641" bIns="44321" numCol="1" spcCol="0" rtlCol="0" fromWordArt="0" anchor="ctr" anchorCtr="0" forceAA="0" compatLnSpc="1">
            <a:prstTxWarp prst="textNoShape">
              <a:avLst/>
            </a:prstTxWarp>
            <a:noAutofit/>
          </a:bodyPr>
          <a:lstStyle/>
          <a:p>
            <a:pPr fontAlgn="base"/>
            <a:r>
              <a:rPr lang="en-US" dirty="0" smtClean="0">
                <a:solidFill>
                  <a:srgbClr val="FFFFFF"/>
                </a:solidFill>
              </a:rPr>
              <a:t>Accuracy</a:t>
            </a:r>
            <a:endParaRPr lang="en-US" dirty="0">
              <a:solidFill>
                <a:srgbClr val="FFFFFF"/>
              </a:solidFill>
            </a:endParaRPr>
          </a:p>
        </p:txBody>
      </p:sp>
      <p:sp>
        <p:nvSpPr>
          <p:cNvPr id="6" name="Rectangle 5"/>
          <p:cNvSpPr/>
          <p:nvPr/>
        </p:nvSpPr>
        <p:spPr>
          <a:xfrm>
            <a:off x="2062212" y="1638858"/>
            <a:ext cx="4616492" cy="4859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r>
              <a:rPr lang="en-US" sz="1400" dirty="0" smtClean="0"/>
              <a:t>Plot of </a:t>
            </a:r>
            <a:r>
              <a:rPr lang="en-US" sz="1400" dirty="0"/>
              <a:t>the true positive rate (</a:t>
            </a:r>
            <a:r>
              <a:rPr lang="en-US" sz="1400" dirty="0" err="1"/>
              <a:t>TPR</a:t>
            </a:r>
            <a:r>
              <a:rPr lang="en-US" sz="1400" dirty="0"/>
              <a:t>) </a:t>
            </a:r>
            <a:r>
              <a:rPr lang="en-US" sz="1400" dirty="0" smtClean="0"/>
              <a:t>against </a:t>
            </a:r>
            <a:r>
              <a:rPr lang="en-US" sz="1400" dirty="0"/>
              <a:t>the false positive </a:t>
            </a:r>
            <a:endParaRPr lang="en-US" sz="1400" dirty="0" smtClean="0"/>
          </a:p>
          <a:p>
            <a:r>
              <a:rPr lang="en-US" sz="1400" dirty="0" smtClean="0"/>
              <a:t>rate </a:t>
            </a:r>
            <a:r>
              <a:rPr lang="en-US" sz="1400" dirty="0"/>
              <a:t>(</a:t>
            </a:r>
            <a:r>
              <a:rPr lang="en-US" sz="1400" dirty="0" err="1"/>
              <a:t>FPR</a:t>
            </a:r>
            <a:r>
              <a:rPr lang="en-US" sz="1400" dirty="0"/>
              <a:t>) at various threshold </a:t>
            </a:r>
            <a:r>
              <a:rPr lang="en-US" sz="1400" dirty="0" smtClean="0"/>
              <a:t>settings</a:t>
            </a:r>
          </a:p>
          <a:p>
            <a:endParaRPr lang="en-US" sz="1400" dirty="0" smtClean="0"/>
          </a:p>
          <a:p>
            <a:r>
              <a:rPr lang="en-US" sz="1400" dirty="0" smtClean="0"/>
              <a:t>AUC is the area under this Curve – signifies predictive power</a:t>
            </a:r>
            <a:endParaRPr lang="en-US" sz="1400" dirty="0"/>
          </a:p>
        </p:txBody>
      </p:sp>
      <p:sp>
        <p:nvSpPr>
          <p:cNvPr id="7" name="Rectangle 6"/>
          <p:cNvSpPr/>
          <p:nvPr/>
        </p:nvSpPr>
        <p:spPr>
          <a:xfrm>
            <a:off x="2062212" y="2581026"/>
            <a:ext cx="3675547" cy="78266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r>
              <a:rPr lang="en-US" sz="1400" dirty="0" smtClean="0"/>
              <a:t>Fraction </a:t>
            </a:r>
            <a:r>
              <a:rPr lang="en-US" sz="1400" dirty="0"/>
              <a:t>of predictions correctly </a:t>
            </a:r>
            <a:r>
              <a:rPr lang="en-US" sz="1400" dirty="0" smtClean="0"/>
              <a:t>predicted by </a:t>
            </a:r>
            <a:r>
              <a:rPr lang="en-US" sz="1400" dirty="0"/>
              <a:t>the </a:t>
            </a:r>
            <a:r>
              <a:rPr lang="en-US" sz="1400" dirty="0" smtClean="0"/>
              <a:t>classifier</a:t>
            </a:r>
          </a:p>
          <a:p>
            <a:endParaRPr lang="en-US" sz="1400" dirty="0">
              <a:solidFill>
                <a:srgbClr val="FFFFFF"/>
              </a:solidFill>
              <a:cs typeface="Arial" pitchFamily="34" charset="0"/>
            </a:endParaRPr>
          </a:p>
          <a:p>
            <a:r>
              <a:rPr lang="en-US" sz="1400" dirty="0" smtClean="0">
                <a:solidFill>
                  <a:srgbClr val="FFFFFF"/>
                </a:solidFill>
                <a:cs typeface="Arial" pitchFamily="34" charset="0"/>
              </a:rPr>
              <a:t>Accuracy on the Test/Validation data set is used</a:t>
            </a:r>
            <a:endParaRPr lang="en-US" sz="1400" dirty="0">
              <a:solidFill>
                <a:srgbClr val="FFFFFF"/>
              </a:solidFill>
              <a:cs typeface="Arial" pitchFamily="34" charset="0"/>
            </a:endParaRPr>
          </a:p>
        </p:txBody>
      </p:sp>
      <p:cxnSp>
        <p:nvCxnSpPr>
          <p:cNvPr id="8" name="Straight Connector 7"/>
          <p:cNvCxnSpPr/>
          <p:nvPr/>
        </p:nvCxnSpPr>
        <p:spPr bwMode="auto">
          <a:xfrm>
            <a:off x="55262" y="2459786"/>
            <a:ext cx="8092440" cy="24730"/>
          </a:xfrm>
          <a:prstGeom prst="line">
            <a:avLst/>
          </a:prstGeom>
          <a:solidFill>
            <a:srgbClr val="AD1B45"/>
          </a:solidFill>
          <a:ln w="9525" cap="rnd"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cxnSp>
        <p:nvCxnSpPr>
          <p:cNvPr id="9" name="Straight Connector 8"/>
          <p:cNvCxnSpPr/>
          <p:nvPr/>
        </p:nvCxnSpPr>
        <p:spPr bwMode="auto">
          <a:xfrm flipV="1">
            <a:off x="47560" y="3451412"/>
            <a:ext cx="8325475" cy="14442"/>
          </a:xfrm>
          <a:prstGeom prst="line">
            <a:avLst/>
          </a:prstGeom>
          <a:solidFill>
            <a:srgbClr val="AD1B45"/>
          </a:solidFill>
          <a:ln w="9525" cap="rnd"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sp>
        <p:nvSpPr>
          <p:cNvPr id="10" name="Rectangle 9"/>
          <p:cNvSpPr/>
          <p:nvPr/>
        </p:nvSpPr>
        <p:spPr bwMode="auto">
          <a:xfrm>
            <a:off x="306935" y="3492968"/>
            <a:ext cx="2284463" cy="95880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641" tIns="44321" rIns="88641" bIns="44321" numCol="1" spcCol="0" rtlCol="0" fromWordArt="0" anchor="ctr" anchorCtr="0" forceAA="0" compatLnSpc="1">
            <a:prstTxWarp prst="textNoShape">
              <a:avLst/>
            </a:prstTxWarp>
            <a:noAutofit/>
          </a:bodyPr>
          <a:lstStyle/>
          <a:p>
            <a:pPr fontAlgn="base"/>
            <a:r>
              <a:rPr lang="en-US" dirty="0" smtClean="0">
                <a:solidFill>
                  <a:srgbClr val="FFFFFF"/>
                </a:solidFill>
              </a:rPr>
              <a:t>Lift</a:t>
            </a:r>
            <a:endParaRPr lang="en-US" dirty="0">
              <a:solidFill>
                <a:srgbClr val="FFFFFF"/>
              </a:solidFill>
            </a:endParaRPr>
          </a:p>
        </p:txBody>
      </p:sp>
      <p:sp>
        <p:nvSpPr>
          <p:cNvPr id="11" name="Rectangle 10"/>
          <p:cNvSpPr/>
          <p:nvPr/>
        </p:nvSpPr>
        <p:spPr>
          <a:xfrm>
            <a:off x="2062212" y="3604729"/>
            <a:ext cx="5863529" cy="71151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r>
              <a:rPr lang="en-US" sz="1400" dirty="0" smtClean="0"/>
              <a:t>Measure </a:t>
            </a:r>
            <a:r>
              <a:rPr lang="en-US" sz="1400" dirty="0"/>
              <a:t>of the effectiveness of a predictive </a:t>
            </a:r>
            <a:r>
              <a:rPr lang="en-US" sz="1400" dirty="0" smtClean="0"/>
              <a:t>model</a:t>
            </a:r>
          </a:p>
          <a:p>
            <a:r>
              <a:rPr lang="en-US" sz="1400" dirty="0" smtClean="0"/>
              <a:t>calculated as </a:t>
            </a:r>
            <a:r>
              <a:rPr lang="en-US" sz="1400" dirty="0"/>
              <a:t>the ratio between the results obtained with </a:t>
            </a:r>
            <a:endParaRPr lang="en-US" sz="1400" dirty="0" smtClean="0"/>
          </a:p>
          <a:p>
            <a:r>
              <a:rPr lang="en-US" sz="1400" dirty="0" smtClean="0"/>
              <a:t>and </a:t>
            </a:r>
            <a:r>
              <a:rPr lang="en-US" sz="1400" dirty="0"/>
              <a:t>without the predictive model</a:t>
            </a:r>
            <a:endParaRPr lang="en-US" sz="1400" dirty="0">
              <a:solidFill>
                <a:srgbClr val="FFFFFF"/>
              </a:solidFill>
              <a:cs typeface="Arial" pitchFamily="34" charset="0"/>
            </a:endParaRPr>
          </a:p>
        </p:txBody>
      </p:sp>
      <p:cxnSp>
        <p:nvCxnSpPr>
          <p:cNvPr id="12" name="Straight Connector 11"/>
          <p:cNvCxnSpPr/>
          <p:nvPr/>
        </p:nvCxnSpPr>
        <p:spPr bwMode="auto">
          <a:xfrm>
            <a:off x="55263" y="4479454"/>
            <a:ext cx="8066761" cy="30885"/>
          </a:xfrm>
          <a:prstGeom prst="line">
            <a:avLst/>
          </a:prstGeom>
          <a:solidFill>
            <a:srgbClr val="AD1B45"/>
          </a:solidFill>
          <a:ln w="9525" cap="rnd"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sp>
        <p:nvSpPr>
          <p:cNvPr id="13" name="Rectangle 12"/>
          <p:cNvSpPr/>
          <p:nvPr/>
        </p:nvSpPr>
        <p:spPr bwMode="auto">
          <a:xfrm>
            <a:off x="306935" y="4507161"/>
            <a:ext cx="2284463" cy="95880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641" tIns="44321" rIns="88641" bIns="44321" numCol="1" spcCol="0" rtlCol="0" fromWordArt="0" anchor="ctr" anchorCtr="0" forceAA="0" compatLnSpc="1">
            <a:prstTxWarp prst="textNoShape">
              <a:avLst/>
            </a:prstTxWarp>
            <a:noAutofit/>
          </a:bodyPr>
          <a:lstStyle/>
          <a:p>
            <a:pPr fontAlgn="base"/>
            <a:r>
              <a:rPr lang="en-US" dirty="0" smtClean="0">
                <a:solidFill>
                  <a:srgbClr val="FFFFFF"/>
                </a:solidFill>
              </a:rPr>
              <a:t>Precision</a:t>
            </a:r>
            <a:endParaRPr lang="en-US" dirty="0">
              <a:solidFill>
                <a:srgbClr val="FFFFFF"/>
              </a:solidFill>
            </a:endParaRPr>
          </a:p>
        </p:txBody>
      </p:sp>
      <p:sp>
        <p:nvSpPr>
          <p:cNvPr id="14" name="Rectangle 13"/>
          <p:cNvSpPr/>
          <p:nvPr/>
        </p:nvSpPr>
        <p:spPr>
          <a:xfrm>
            <a:off x="2062212" y="4611070"/>
            <a:ext cx="5863529" cy="71151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r>
              <a:rPr lang="en-US" sz="1400" dirty="0"/>
              <a:t>P</a:t>
            </a:r>
            <a:r>
              <a:rPr lang="en-US" sz="1400" dirty="0" smtClean="0"/>
              <a:t>roportion </a:t>
            </a:r>
            <a:r>
              <a:rPr lang="en-US" sz="1400" dirty="0"/>
              <a:t>of positive </a:t>
            </a:r>
            <a:r>
              <a:rPr lang="en-US" sz="1400" dirty="0" smtClean="0"/>
              <a:t>identifications (</a:t>
            </a:r>
            <a:r>
              <a:rPr lang="en-US" sz="1400" dirty="0" err="1" smtClean="0"/>
              <a:t>TP</a:t>
            </a:r>
            <a:r>
              <a:rPr lang="en-US" sz="1400" dirty="0" smtClean="0"/>
              <a:t> + FP) that were </a:t>
            </a:r>
          </a:p>
          <a:p>
            <a:r>
              <a:rPr lang="en-US" sz="1400" dirty="0" smtClean="0"/>
              <a:t>actually correct (</a:t>
            </a:r>
            <a:r>
              <a:rPr lang="en-US" sz="1400" dirty="0" err="1" smtClean="0"/>
              <a:t>TP</a:t>
            </a:r>
            <a:r>
              <a:rPr lang="en-US" sz="1400" dirty="0"/>
              <a:t>)</a:t>
            </a:r>
            <a:endParaRPr lang="en-US" sz="1400" dirty="0" smtClean="0"/>
          </a:p>
          <a:p>
            <a:endParaRPr lang="en-US" sz="1400" dirty="0">
              <a:solidFill>
                <a:srgbClr val="FFFFFF"/>
              </a:solidFill>
              <a:cs typeface="Arial" pitchFamily="34" charset="0"/>
            </a:endParaRPr>
          </a:p>
          <a:p>
            <a:r>
              <a:rPr lang="en-US" sz="1400" dirty="0" err="1" smtClean="0">
                <a:solidFill>
                  <a:srgbClr val="FFFFFF"/>
                </a:solidFill>
                <a:cs typeface="Arial" pitchFamily="34" charset="0"/>
              </a:rPr>
              <a:t>TP</a:t>
            </a:r>
            <a:r>
              <a:rPr lang="en-US" sz="1400" dirty="0" smtClean="0">
                <a:solidFill>
                  <a:srgbClr val="FFFFFF"/>
                </a:solidFill>
                <a:cs typeface="Arial" pitchFamily="34" charset="0"/>
              </a:rPr>
              <a:t> / (</a:t>
            </a:r>
            <a:r>
              <a:rPr lang="en-US" sz="1400" dirty="0" err="1" smtClean="0">
                <a:solidFill>
                  <a:srgbClr val="FFFFFF"/>
                </a:solidFill>
                <a:cs typeface="Arial" pitchFamily="34" charset="0"/>
              </a:rPr>
              <a:t>TP</a:t>
            </a:r>
            <a:r>
              <a:rPr lang="en-US" sz="1400" dirty="0" smtClean="0">
                <a:solidFill>
                  <a:srgbClr val="FFFFFF"/>
                </a:solidFill>
                <a:cs typeface="Arial" pitchFamily="34" charset="0"/>
              </a:rPr>
              <a:t> + FP)</a:t>
            </a:r>
            <a:endParaRPr lang="en-US" sz="1400" dirty="0">
              <a:solidFill>
                <a:srgbClr val="FFFFFF"/>
              </a:solidFill>
              <a:cs typeface="Arial" pitchFamily="34" charset="0"/>
            </a:endParaRPr>
          </a:p>
        </p:txBody>
      </p:sp>
      <p:cxnSp>
        <p:nvCxnSpPr>
          <p:cNvPr id="15" name="Straight Connector 14"/>
          <p:cNvCxnSpPr/>
          <p:nvPr/>
        </p:nvCxnSpPr>
        <p:spPr bwMode="auto">
          <a:xfrm flipV="1">
            <a:off x="55263" y="5485244"/>
            <a:ext cx="7818120" cy="7809"/>
          </a:xfrm>
          <a:prstGeom prst="line">
            <a:avLst/>
          </a:prstGeom>
          <a:solidFill>
            <a:srgbClr val="AD1B45"/>
          </a:solidFill>
          <a:ln w="9525" cap="rnd"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sp>
        <p:nvSpPr>
          <p:cNvPr id="16" name="Rectangle 15"/>
          <p:cNvSpPr/>
          <p:nvPr/>
        </p:nvSpPr>
        <p:spPr bwMode="auto">
          <a:xfrm>
            <a:off x="306935" y="5826158"/>
            <a:ext cx="2284463" cy="44729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641" tIns="44321" rIns="88641" bIns="44321" numCol="1" spcCol="0" rtlCol="0" fromWordArt="0" anchor="ctr" anchorCtr="0" forceAA="0" compatLnSpc="1">
            <a:prstTxWarp prst="textNoShape">
              <a:avLst/>
            </a:prstTxWarp>
            <a:noAutofit/>
          </a:bodyPr>
          <a:lstStyle/>
          <a:p>
            <a:pPr fontAlgn="base"/>
            <a:r>
              <a:rPr lang="en-US" dirty="0" smtClean="0">
                <a:solidFill>
                  <a:srgbClr val="FFFFFF"/>
                </a:solidFill>
              </a:rPr>
              <a:t>Recall</a:t>
            </a:r>
            <a:endParaRPr lang="en-US" dirty="0">
              <a:solidFill>
                <a:srgbClr val="FFFFFF"/>
              </a:solidFill>
            </a:endParaRPr>
          </a:p>
        </p:txBody>
      </p:sp>
      <p:sp>
        <p:nvSpPr>
          <p:cNvPr id="17" name="Rectangle 16"/>
          <p:cNvSpPr/>
          <p:nvPr/>
        </p:nvSpPr>
        <p:spPr>
          <a:xfrm>
            <a:off x="2062212" y="5518797"/>
            <a:ext cx="5330481" cy="103141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r>
              <a:rPr lang="en-US" sz="1400" dirty="0"/>
              <a:t>P</a:t>
            </a:r>
            <a:r>
              <a:rPr lang="en-US" sz="1400" dirty="0" smtClean="0"/>
              <a:t>roportion </a:t>
            </a:r>
            <a:r>
              <a:rPr lang="en-US" sz="1400" dirty="0"/>
              <a:t>of actual </a:t>
            </a:r>
            <a:r>
              <a:rPr lang="en-US" sz="1400" dirty="0" smtClean="0"/>
              <a:t>positives (</a:t>
            </a:r>
            <a:r>
              <a:rPr lang="en-US" sz="1400" dirty="0" err="1" smtClean="0"/>
              <a:t>TP</a:t>
            </a:r>
            <a:r>
              <a:rPr lang="en-US" sz="1400" dirty="0" smtClean="0"/>
              <a:t> + FN) that were identified </a:t>
            </a:r>
          </a:p>
          <a:p>
            <a:r>
              <a:rPr lang="en-US" sz="1400" dirty="0"/>
              <a:t>c</a:t>
            </a:r>
            <a:r>
              <a:rPr lang="en-US" sz="1400" dirty="0" smtClean="0"/>
              <a:t>orrectly (</a:t>
            </a:r>
            <a:r>
              <a:rPr lang="en-US" sz="1400" dirty="0" err="1" smtClean="0"/>
              <a:t>TP</a:t>
            </a:r>
            <a:r>
              <a:rPr lang="en-US" sz="1400" dirty="0" smtClean="0"/>
              <a:t>)</a:t>
            </a:r>
          </a:p>
          <a:p>
            <a:endParaRPr lang="en-US" sz="1400" dirty="0">
              <a:solidFill>
                <a:srgbClr val="FFFFFF"/>
              </a:solidFill>
              <a:cs typeface="Arial" pitchFamily="34" charset="0"/>
            </a:endParaRPr>
          </a:p>
          <a:p>
            <a:r>
              <a:rPr lang="en-US" sz="1400" dirty="0" err="1" smtClean="0">
                <a:solidFill>
                  <a:srgbClr val="FFFFFF"/>
                </a:solidFill>
                <a:cs typeface="Arial" pitchFamily="34" charset="0"/>
              </a:rPr>
              <a:t>TP</a:t>
            </a:r>
            <a:r>
              <a:rPr lang="en-US" sz="1400" dirty="0" smtClean="0">
                <a:solidFill>
                  <a:srgbClr val="FFFFFF"/>
                </a:solidFill>
                <a:cs typeface="Arial" pitchFamily="34" charset="0"/>
              </a:rPr>
              <a:t> / (</a:t>
            </a:r>
            <a:r>
              <a:rPr lang="en-US" sz="1400" dirty="0" err="1" smtClean="0">
                <a:solidFill>
                  <a:srgbClr val="FFFFFF"/>
                </a:solidFill>
                <a:cs typeface="Arial" pitchFamily="34" charset="0"/>
              </a:rPr>
              <a:t>TP</a:t>
            </a:r>
            <a:r>
              <a:rPr lang="en-US" sz="1400" dirty="0" smtClean="0">
                <a:solidFill>
                  <a:srgbClr val="FFFFFF"/>
                </a:solidFill>
                <a:cs typeface="Arial" pitchFamily="34" charset="0"/>
              </a:rPr>
              <a:t> + FN)</a:t>
            </a:r>
            <a:endParaRPr lang="en-US" sz="1400" dirty="0">
              <a:solidFill>
                <a:srgbClr val="FFFFFF"/>
              </a:solidFill>
              <a:cs typeface="Arial" pitchFamily="34" charset="0"/>
            </a:endParaRPr>
          </a:p>
        </p:txBody>
      </p:sp>
      <p:sp>
        <p:nvSpPr>
          <p:cNvPr id="34" name="Title 2"/>
          <p:cNvSpPr txBox="1">
            <a:spLocks/>
          </p:cNvSpPr>
          <p:nvPr/>
        </p:nvSpPr>
        <p:spPr>
          <a:xfrm>
            <a:off x="9070478" y="518130"/>
            <a:ext cx="4919153"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FFFFFF"/>
                </a:solidFill>
                <a:latin typeface="+mj-lt"/>
                <a:ea typeface="+mj-ea"/>
                <a:cs typeface="+mj-cs"/>
                <a:sym typeface="Trebuchet MS" panose="020B0603020202020204" pitchFamily="34" charset="0"/>
              </a:defRPr>
            </a:lvl1pPr>
          </a:lstStyle>
          <a:p>
            <a:r>
              <a:rPr lang="en-US" sz="3200" dirty="0" smtClean="0">
                <a:solidFill>
                  <a:srgbClr val="29BA74"/>
                </a:solidFill>
              </a:rPr>
              <a:t>When to use</a:t>
            </a:r>
            <a:endParaRPr lang="en-US" sz="2800" dirty="0"/>
          </a:p>
        </p:txBody>
      </p:sp>
      <p:sp>
        <p:nvSpPr>
          <p:cNvPr id="35" name="Title 2"/>
          <p:cNvSpPr txBox="1">
            <a:spLocks/>
          </p:cNvSpPr>
          <p:nvPr/>
        </p:nvSpPr>
        <p:spPr>
          <a:xfrm>
            <a:off x="9106338" y="1494047"/>
            <a:ext cx="2294821" cy="77559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FFFFFF"/>
                </a:solidFill>
                <a:latin typeface="+mj-lt"/>
                <a:ea typeface="+mj-ea"/>
                <a:cs typeface="+mj-cs"/>
                <a:sym typeface="Trebuchet MS" panose="020B0603020202020204" pitchFamily="34" charset="0"/>
              </a:defRPr>
            </a:lvl1pPr>
          </a:lstStyle>
          <a:p>
            <a:r>
              <a:rPr lang="en-US" sz="1400" dirty="0" smtClean="0">
                <a:solidFill>
                  <a:srgbClr val="575757"/>
                </a:solidFill>
              </a:rPr>
              <a:t>To maximize predictive power</a:t>
            </a:r>
          </a:p>
          <a:p>
            <a:endParaRPr lang="en-US" sz="1400" dirty="0" smtClean="0">
              <a:solidFill>
                <a:srgbClr val="575757"/>
              </a:solidFill>
            </a:endParaRPr>
          </a:p>
          <a:p>
            <a:r>
              <a:rPr lang="en-US" sz="1400" dirty="0" smtClean="0">
                <a:solidFill>
                  <a:srgbClr val="575757"/>
                </a:solidFill>
              </a:rPr>
              <a:t>Balanced target class</a:t>
            </a:r>
            <a:endParaRPr lang="en-US" sz="1400" dirty="0">
              <a:solidFill>
                <a:srgbClr val="575757"/>
              </a:solidFill>
            </a:endParaRPr>
          </a:p>
        </p:txBody>
      </p:sp>
      <p:sp>
        <p:nvSpPr>
          <p:cNvPr id="36" name="Title 2"/>
          <p:cNvSpPr txBox="1">
            <a:spLocks/>
          </p:cNvSpPr>
          <p:nvPr/>
        </p:nvSpPr>
        <p:spPr>
          <a:xfrm>
            <a:off x="9106338" y="4611070"/>
            <a:ext cx="2294821" cy="77559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FFFFFF"/>
                </a:solidFill>
                <a:latin typeface="+mj-lt"/>
                <a:ea typeface="+mj-ea"/>
                <a:cs typeface="+mj-cs"/>
                <a:sym typeface="Trebuchet MS" panose="020B0603020202020204" pitchFamily="34" charset="0"/>
              </a:defRPr>
            </a:lvl1pPr>
          </a:lstStyle>
          <a:p>
            <a:r>
              <a:rPr lang="en-US" sz="1400" dirty="0" smtClean="0">
                <a:solidFill>
                  <a:srgbClr val="575757"/>
                </a:solidFill>
              </a:rPr>
              <a:t>To minimize false positives</a:t>
            </a:r>
          </a:p>
          <a:p>
            <a:endParaRPr lang="en-US" sz="1400" dirty="0">
              <a:solidFill>
                <a:srgbClr val="575757"/>
              </a:solidFill>
            </a:endParaRPr>
          </a:p>
          <a:p>
            <a:r>
              <a:rPr lang="en-US" sz="1400" dirty="0" smtClean="0">
                <a:solidFill>
                  <a:srgbClr val="575757"/>
                </a:solidFill>
              </a:rPr>
              <a:t>Cost of False positives is high</a:t>
            </a:r>
            <a:endParaRPr lang="en-US" sz="1400" dirty="0">
              <a:solidFill>
                <a:srgbClr val="575757"/>
              </a:solidFill>
            </a:endParaRPr>
          </a:p>
        </p:txBody>
      </p:sp>
      <p:sp>
        <p:nvSpPr>
          <p:cNvPr id="37" name="Title 2"/>
          <p:cNvSpPr txBox="1">
            <a:spLocks/>
          </p:cNvSpPr>
          <p:nvPr/>
        </p:nvSpPr>
        <p:spPr>
          <a:xfrm>
            <a:off x="9106338" y="5549757"/>
            <a:ext cx="2294821" cy="969496"/>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FFFFFF"/>
                </a:solidFill>
                <a:latin typeface="+mj-lt"/>
                <a:ea typeface="+mj-ea"/>
                <a:cs typeface="+mj-cs"/>
                <a:sym typeface="Trebuchet MS" panose="020B0603020202020204" pitchFamily="34" charset="0"/>
              </a:defRPr>
            </a:lvl1pPr>
          </a:lstStyle>
          <a:p>
            <a:r>
              <a:rPr lang="en-US" sz="1400" dirty="0" smtClean="0">
                <a:solidFill>
                  <a:srgbClr val="575757"/>
                </a:solidFill>
              </a:rPr>
              <a:t>To capture maximum positives</a:t>
            </a:r>
          </a:p>
          <a:p>
            <a:endParaRPr lang="en-US" sz="1400" dirty="0" smtClean="0">
              <a:solidFill>
                <a:srgbClr val="575757"/>
              </a:solidFill>
            </a:endParaRPr>
          </a:p>
          <a:p>
            <a:r>
              <a:rPr lang="en-US" sz="1400" dirty="0" smtClean="0">
                <a:solidFill>
                  <a:srgbClr val="575757"/>
                </a:solidFill>
              </a:rPr>
              <a:t>False positives are not a big issue</a:t>
            </a:r>
            <a:endParaRPr lang="en-US" sz="1400" dirty="0">
              <a:solidFill>
                <a:srgbClr val="575757"/>
              </a:solidFill>
            </a:endParaRPr>
          </a:p>
        </p:txBody>
      </p:sp>
      <p:sp>
        <p:nvSpPr>
          <p:cNvPr id="38" name="Title 2"/>
          <p:cNvSpPr txBox="1">
            <a:spLocks/>
          </p:cNvSpPr>
          <p:nvPr/>
        </p:nvSpPr>
        <p:spPr>
          <a:xfrm>
            <a:off x="9106338" y="2778461"/>
            <a:ext cx="2294821" cy="3877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FFFFFF"/>
                </a:solidFill>
                <a:latin typeface="+mj-lt"/>
                <a:ea typeface="+mj-ea"/>
                <a:cs typeface="+mj-cs"/>
                <a:sym typeface="Trebuchet MS" panose="020B0603020202020204" pitchFamily="34" charset="0"/>
              </a:defRPr>
            </a:lvl1pPr>
          </a:lstStyle>
          <a:p>
            <a:r>
              <a:rPr lang="en-US" sz="1400" dirty="0" smtClean="0">
                <a:solidFill>
                  <a:srgbClr val="575757"/>
                </a:solidFill>
              </a:rPr>
              <a:t>To maximize test accuracy for both classes</a:t>
            </a:r>
            <a:endParaRPr lang="en-US" sz="1400" dirty="0">
              <a:solidFill>
                <a:srgbClr val="575757"/>
              </a:solidFill>
            </a:endParaRPr>
          </a:p>
        </p:txBody>
      </p:sp>
      <p:sp>
        <p:nvSpPr>
          <p:cNvPr id="39" name="Title 2"/>
          <p:cNvSpPr txBox="1">
            <a:spLocks/>
          </p:cNvSpPr>
          <p:nvPr/>
        </p:nvSpPr>
        <p:spPr>
          <a:xfrm>
            <a:off x="9106338" y="3604729"/>
            <a:ext cx="2294821" cy="77559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FFFFFF"/>
                </a:solidFill>
                <a:latin typeface="+mj-lt"/>
                <a:ea typeface="+mj-ea"/>
                <a:cs typeface="+mj-cs"/>
                <a:sym typeface="Trebuchet MS" panose="020B0603020202020204" pitchFamily="34" charset="0"/>
              </a:defRPr>
            </a:lvl1pPr>
          </a:lstStyle>
          <a:p>
            <a:r>
              <a:rPr lang="en-US" sz="1400" dirty="0" smtClean="0">
                <a:solidFill>
                  <a:srgbClr val="575757"/>
                </a:solidFill>
              </a:rPr>
              <a:t>For highlighting effectiveness of model with respect to random</a:t>
            </a:r>
          </a:p>
          <a:p>
            <a:endParaRPr lang="en-US" sz="1400" dirty="0"/>
          </a:p>
        </p:txBody>
      </p:sp>
      <p:cxnSp>
        <p:nvCxnSpPr>
          <p:cNvPr id="40" name="Straight Connector 39"/>
          <p:cNvCxnSpPr/>
          <p:nvPr/>
        </p:nvCxnSpPr>
        <p:spPr bwMode="auto">
          <a:xfrm flipV="1">
            <a:off x="8284111" y="2475402"/>
            <a:ext cx="3593592" cy="16648"/>
          </a:xfrm>
          <a:prstGeom prst="line">
            <a:avLst/>
          </a:prstGeom>
          <a:solidFill>
            <a:srgbClr val="AD1B45"/>
          </a:solidFill>
          <a:ln w="9525" cap="rnd"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cxnSp>
        <p:nvCxnSpPr>
          <p:cNvPr id="51" name="Straight Connector 50"/>
          <p:cNvCxnSpPr/>
          <p:nvPr/>
        </p:nvCxnSpPr>
        <p:spPr bwMode="auto">
          <a:xfrm flipV="1">
            <a:off x="8494423" y="3438734"/>
            <a:ext cx="3383280" cy="16648"/>
          </a:xfrm>
          <a:prstGeom prst="line">
            <a:avLst/>
          </a:prstGeom>
          <a:solidFill>
            <a:srgbClr val="AD1B45"/>
          </a:solidFill>
          <a:ln w="9525" cap="rnd"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cxnSp>
        <p:nvCxnSpPr>
          <p:cNvPr id="52" name="Straight Connector 51"/>
          <p:cNvCxnSpPr/>
          <p:nvPr/>
        </p:nvCxnSpPr>
        <p:spPr bwMode="auto">
          <a:xfrm flipV="1">
            <a:off x="8265823" y="4498148"/>
            <a:ext cx="3611880" cy="16648"/>
          </a:xfrm>
          <a:prstGeom prst="line">
            <a:avLst/>
          </a:prstGeom>
          <a:solidFill>
            <a:srgbClr val="AD1B45"/>
          </a:solidFill>
          <a:ln w="9525" cap="rnd"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cxnSp>
        <p:nvCxnSpPr>
          <p:cNvPr id="53" name="Straight Connector 52"/>
          <p:cNvCxnSpPr/>
          <p:nvPr/>
        </p:nvCxnSpPr>
        <p:spPr bwMode="auto">
          <a:xfrm flipV="1">
            <a:off x="8037223" y="5469249"/>
            <a:ext cx="3840480" cy="16648"/>
          </a:xfrm>
          <a:prstGeom prst="line">
            <a:avLst/>
          </a:prstGeom>
          <a:solidFill>
            <a:srgbClr val="AD1B45"/>
          </a:solidFill>
          <a:ln w="9525" cap="rnd"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sx="0" sy="0" rotWithShape="0">
                    <a:scrgbClr r="0" g="0" b="0"/>
                  </a:outerShdw>
                </a:effectLst>
              </a14:hiddenEffects>
            </a:ext>
            <a:ext uri="{53640926-AAD7-44D8-BBD7-CCE9431645EC}">
              <a14:shadowObscured xmlns:a14="http://schemas.microsoft.com/office/drawing/2010/main"/>
            </a:ext>
          </a:extLst>
        </p:spPr>
      </p:cxnSp>
    </p:spTree>
    <p:extLst>
      <p:ext uri="{BB962C8B-B14F-4D97-AF65-F5344CB8AC3E}">
        <p14:creationId xmlns:p14="http://schemas.microsoft.com/office/powerpoint/2010/main" val="58703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612071" y="326965"/>
            <a:ext cx="10933350" cy="332399"/>
          </a:xfrm>
        </p:spPr>
        <p:txBody>
          <a:bodyPr/>
          <a:lstStyle/>
          <a:p>
            <a:r>
              <a:rPr lang="en-US" dirty="0" smtClean="0">
                <a:latin typeface="+mj-lt"/>
              </a:rPr>
              <a:t>Hyperparameter Tuning</a:t>
            </a:r>
            <a:endParaRPr lang="en-US" dirty="0">
              <a:latin typeface="+mj-lt"/>
            </a:endParaRPr>
          </a:p>
        </p:txBody>
      </p:sp>
      <p:sp>
        <p:nvSpPr>
          <p:cNvPr id="12" name="ee4pHeader1"/>
          <p:cNvSpPr>
            <a:spLocks noChangeArrowheads="1"/>
          </p:cNvSpPr>
          <p:nvPr>
            <p:custDataLst>
              <p:tags r:id="rId2"/>
            </p:custDataLst>
          </p:nvPr>
        </p:nvSpPr>
        <p:spPr bwMode="gray">
          <a:xfrm>
            <a:off x="681415" y="1737294"/>
            <a:ext cx="2552727" cy="542941"/>
          </a:xfrm>
          <a:prstGeom prst="homePlate">
            <a:avLst>
              <a:gd name="adj" fmla="val 28772"/>
            </a:avLst>
          </a:prstGeom>
          <a:solidFill>
            <a:schemeClr val="tx2"/>
          </a:solidFill>
          <a:ln w="38100" cap="rnd" algn="ctr">
            <a:noFill/>
            <a:round/>
            <a:headEnd/>
            <a:tailEnd/>
          </a:ln>
        </p:spPr>
        <p:txBody>
          <a:bodyPr lIns="0" tIns="0" rIns="0" bIns="0" anchor="ctr" anchorCtr="0"/>
          <a:lstStyle/>
          <a:p>
            <a:pPr algn="ctr" eaLnBrk="0" hangingPunct="0"/>
            <a:r>
              <a:rPr lang="en-US" sz="1600" dirty="0" smtClean="0">
                <a:solidFill>
                  <a:schemeClr val="bg1"/>
                </a:solidFill>
                <a:sym typeface="Trebuchet MS" panose="020B0603020202020204" pitchFamily="34" charset="0"/>
              </a:rPr>
              <a:t>Define Inputs</a:t>
            </a:r>
            <a:endParaRPr lang="en-US" sz="1600" dirty="0">
              <a:solidFill>
                <a:schemeClr val="bg1"/>
              </a:solidFill>
              <a:sym typeface="Trebuchet MS" panose="020B0603020202020204" pitchFamily="34" charset="0"/>
            </a:endParaRPr>
          </a:p>
        </p:txBody>
      </p:sp>
      <p:sp>
        <p:nvSpPr>
          <p:cNvPr id="14" name="ee4pHeader3"/>
          <p:cNvSpPr>
            <a:spLocks noChangeArrowheads="1"/>
          </p:cNvSpPr>
          <p:nvPr>
            <p:custDataLst>
              <p:tags r:id="rId3"/>
            </p:custDataLst>
          </p:nvPr>
        </p:nvSpPr>
        <p:spPr bwMode="gray">
          <a:xfrm>
            <a:off x="8992694" y="1737294"/>
            <a:ext cx="2552727" cy="542941"/>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1600" dirty="0" smtClean="0">
                <a:solidFill>
                  <a:schemeClr val="bg1"/>
                </a:solidFill>
                <a:sym typeface="Trebuchet MS" panose="020B0603020202020204" pitchFamily="34" charset="0"/>
              </a:rPr>
              <a:t>Output</a:t>
            </a:r>
            <a:endParaRPr lang="en-US" sz="1600" dirty="0">
              <a:solidFill>
                <a:schemeClr val="bg1"/>
              </a:solidFill>
              <a:sym typeface="Trebuchet MS" panose="020B0603020202020204" pitchFamily="34" charset="0"/>
            </a:endParaRPr>
          </a:p>
        </p:txBody>
      </p:sp>
      <p:sp>
        <p:nvSpPr>
          <p:cNvPr id="16" name="ee4pContent1"/>
          <p:cNvSpPr txBox="1"/>
          <p:nvPr/>
        </p:nvSpPr>
        <p:spPr>
          <a:xfrm>
            <a:off x="845801" y="2458130"/>
            <a:ext cx="2165010" cy="2418670"/>
          </a:xfrm>
          <a:prstGeom prst="rect">
            <a:avLst/>
          </a:prstGeom>
          <a:ln cap="rnd">
            <a:noFill/>
            <a:round/>
          </a:ln>
          <a:extLst/>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smtClean="0">
                <a:solidFill>
                  <a:schemeClr val="tx1">
                    <a:lumMod val="100000"/>
                  </a:schemeClr>
                </a:solidFill>
              </a:rPr>
              <a:t>Define hyper parameter range</a:t>
            </a:r>
          </a:p>
          <a:p>
            <a:pPr lvl="1">
              <a:buClr>
                <a:schemeClr val="tx2">
                  <a:lumMod val="100000"/>
                </a:schemeClr>
              </a:buClr>
              <a:buSzPct val="100000"/>
            </a:pPr>
            <a:endParaRPr lang="en-US" dirty="0" smtClean="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Define searching method (</a:t>
            </a:r>
            <a:r>
              <a:rPr lang="en-US" dirty="0" err="1" smtClean="0">
                <a:solidFill>
                  <a:schemeClr val="tx1">
                    <a:lumMod val="100000"/>
                  </a:schemeClr>
                </a:solidFill>
              </a:rPr>
              <a:t>GridSeach</a:t>
            </a:r>
            <a:r>
              <a:rPr lang="en-US" dirty="0" smtClean="0">
                <a:solidFill>
                  <a:schemeClr val="tx1">
                    <a:lumMod val="100000"/>
                  </a:schemeClr>
                </a:solidFill>
              </a:rPr>
              <a:t>, </a:t>
            </a:r>
            <a:r>
              <a:rPr lang="en-US" dirty="0" err="1" smtClean="0">
                <a:solidFill>
                  <a:schemeClr val="tx1">
                    <a:lumMod val="100000"/>
                  </a:schemeClr>
                </a:solidFill>
              </a:rPr>
              <a:t>RandomSearch</a:t>
            </a:r>
            <a:r>
              <a:rPr lang="en-US" dirty="0" smtClean="0">
                <a:solidFill>
                  <a:schemeClr val="tx1">
                    <a:lumMod val="100000"/>
                  </a:schemeClr>
                </a:solidFill>
              </a:rPr>
              <a:t>)</a:t>
            </a:r>
            <a:endParaRPr lang="en-US" dirty="0">
              <a:solidFill>
                <a:schemeClr val="tx1">
                  <a:lumMod val="100000"/>
                </a:schemeClr>
              </a:solidFill>
            </a:endParaRPr>
          </a:p>
          <a:p>
            <a:pPr lvl="1">
              <a:buClr>
                <a:schemeClr val="tx2">
                  <a:lumMod val="100000"/>
                </a:schemeClr>
              </a:buClr>
              <a:buSzPct val="100000"/>
            </a:pPr>
            <a:endParaRPr lang="en-US" dirty="0" smtClean="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Define objective function</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Define </a:t>
            </a:r>
            <a:r>
              <a:rPr lang="en-US" dirty="0">
                <a:solidFill>
                  <a:schemeClr val="tx1">
                    <a:lumMod val="100000"/>
                  </a:schemeClr>
                </a:solidFill>
              </a:rPr>
              <a:t>cross-validation splitting </a:t>
            </a:r>
            <a:r>
              <a:rPr lang="en-US" dirty="0" smtClean="0">
                <a:solidFill>
                  <a:schemeClr val="tx1">
                    <a:lumMod val="100000"/>
                  </a:schemeClr>
                </a:solidFill>
              </a:rPr>
              <a:t>strategy (</a:t>
            </a:r>
            <a:r>
              <a:rPr lang="en-US" b="1" dirty="0">
                <a:solidFill>
                  <a:schemeClr val="tx1">
                    <a:lumMod val="100000"/>
                  </a:schemeClr>
                </a:solidFill>
              </a:rPr>
              <a:t>K</a:t>
            </a:r>
            <a:r>
              <a:rPr lang="en-US" dirty="0" smtClean="0">
                <a:solidFill>
                  <a:schemeClr val="tx1">
                    <a:lumMod val="100000"/>
                  </a:schemeClr>
                </a:solidFill>
              </a:rPr>
              <a:t> </a:t>
            </a:r>
            <a:r>
              <a:rPr lang="en-US" dirty="0">
                <a:solidFill>
                  <a:schemeClr val="tx1">
                    <a:lumMod val="100000"/>
                  </a:schemeClr>
                </a:solidFill>
              </a:rPr>
              <a:t>number of </a:t>
            </a:r>
            <a:r>
              <a:rPr lang="en-US" dirty="0" smtClean="0">
                <a:solidFill>
                  <a:schemeClr val="tx1">
                    <a:lumMod val="100000"/>
                  </a:schemeClr>
                </a:solidFill>
              </a:rPr>
              <a:t>folds)</a:t>
            </a:r>
          </a:p>
        </p:txBody>
      </p:sp>
      <p:grpSp>
        <p:nvGrpSpPr>
          <p:cNvPr id="20" name="Group 19"/>
          <p:cNvGrpSpPr/>
          <p:nvPr/>
        </p:nvGrpSpPr>
        <p:grpSpPr>
          <a:xfrm>
            <a:off x="4020512" y="1158990"/>
            <a:ext cx="4136724" cy="4075808"/>
            <a:chOff x="3419228" y="913363"/>
            <a:chExt cx="4550396" cy="4483389"/>
          </a:xfrm>
        </p:grpSpPr>
        <p:grpSp>
          <p:nvGrpSpPr>
            <p:cNvPr id="11" name="Group 10"/>
            <p:cNvGrpSpPr/>
            <p:nvPr/>
          </p:nvGrpSpPr>
          <p:grpSpPr>
            <a:xfrm>
              <a:off x="3419228" y="913363"/>
              <a:ext cx="4550396" cy="4483389"/>
              <a:chOff x="4056000" y="1778000"/>
              <a:chExt cx="4080000" cy="4079877"/>
            </a:xfrm>
          </p:grpSpPr>
          <p:sp>
            <p:nvSpPr>
              <p:cNvPr id="2" name="CircleSegment"/>
              <p:cNvSpPr>
                <a:spLocks/>
              </p:cNvSpPr>
              <p:nvPr>
                <p:custDataLst>
                  <p:tags r:id="rId8"/>
                </p:custDataLst>
              </p:nvPr>
            </p:nvSpPr>
            <p:spPr bwMode="gray">
              <a:xfrm>
                <a:off x="6096793" y="1778002"/>
                <a:ext cx="2039207" cy="2244725"/>
              </a:xfrm>
              <a:custGeom>
                <a:avLst/>
                <a:gdLst>
                  <a:gd name="T0" fmla="*/ 2147483647 w 1295"/>
                  <a:gd name="T1" fmla="*/ 2147483647 h 1424"/>
                  <a:gd name="T2" fmla="*/ 2147483647 w 1295"/>
                  <a:gd name="T3" fmla="*/ 2147483647 h 1424"/>
                  <a:gd name="T4" fmla="*/ 2147483647 w 1295"/>
                  <a:gd name="T5" fmla="*/ 2147483647 h 1424"/>
                  <a:gd name="T6" fmla="*/ 2147483647 w 1295"/>
                  <a:gd name="T7" fmla="*/ 2147483647 h 1424"/>
                  <a:gd name="T8" fmla="*/ 2147483647 w 1295"/>
                  <a:gd name="T9" fmla="*/ 2147483647 h 1424"/>
                  <a:gd name="T10" fmla="*/ 2147483647 w 1295"/>
                  <a:gd name="T11" fmla="*/ 2147483647 h 1424"/>
                  <a:gd name="T12" fmla="*/ 2147483647 w 1295"/>
                  <a:gd name="T13" fmla="*/ 2147483647 h 1424"/>
                  <a:gd name="T14" fmla="*/ 2147483647 w 1295"/>
                  <a:gd name="T15" fmla="*/ 2147483647 h 1424"/>
                  <a:gd name="T16" fmla="*/ 2147483647 w 1295"/>
                  <a:gd name="T17" fmla="*/ 2147483647 h 1424"/>
                  <a:gd name="T18" fmla="*/ 2147483647 w 1295"/>
                  <a:gd name="T19" fmla="*/ 2147483647 h 1424"/>
                  <a:gd name="T20" fmla="*/ 2147483647 w 1295"/>
                  <a:gd name="T21" fmla="*/ 2147483647 h 1424"/>
                  <a:gd name="T22" fmla="*/ 2147483647 w 1295"/>
                  <a:gd name="T23" fmla="*/ 2147483647 h 1424"/>
                  <a:gd name="T24" fmla="*/ 2147483647 w 1295"/>
                  <a:gd name="T25" fmla="*/ 2147483647 h 1424"/>
                  <a:gd name="T26" fmla="*/ 2147483647 w 1295"/>
                  <a:gd name="T27" fmla="*/ 2147483647 h 1424"/>
                  <a:gd name="T28" fmla="*/ 2147483647 w 1295"/>
                  <a:gd name="T29" fmla="*/ 2147483647 h 1424"/>
                  <a:gd name="T30" fmla="*/ 2147483647 w 1295"/>
                  <a:gd name="T31" fmla="*/ 2147483647 h 1424"/>
                  <a:gd name="T32" fmla="*/ 2147483647 w 1295"/>
                  <a:gd name="T33" fmla="*/ 2147483647 h 1424"/>
                  <a:gd name="T34" fmla="*/ 2147483647 w 1295"/>
                  <a:gd name="T35" fmla="*/ 2147483647 h 1424"/>
                  <a:gd name="T36" fmla="*/ 2147483647 w 1295"/>
                  <a:gd name="T37" fmla="*/ 2147483647 h 1424"/>
                  <a:gd name="T38" fmla="*/ 0 w 1295"/>
                  <a:gd name="T39" fmla="*/ 2147483647 h 1424"/>
                  <a:gd name="T40" fmla="*/ 2147483647 w 1295"/>
                  <a:gd name="T41" fmla="*/ 2147483647 h 1424"/>
                  <a:gd name="T42" fmla="*/ 0 w 1295"/>
                  <a:gd name="T43" fmla="*/ 2147483647 h 1424"/>
                  <a:gd name="T44" fmla="*/ 2147483647 w 1295"/>
                  <a:gd name="T45" fmla="*/ 2147483647 h 1424"/>
                  <a:gd name="T46" fmla="*/ 2147483647 w 1295"/>
                  <a:gd name="T47" fmla="*/ 2147483647 h 1424"/>
                  <a:gd name="T48" fmla="*/ 2147483647 w 1295"/>
                  <a:gd name="T49" fmla="*/ 2147483647 h 1424"/>
                  <a:gd name="T50" fmla="*/ 2147483647 w 1295"/>
                  <a:gd name="T51" fmla="*/ 2147483647 h 1424"/>
                  <a:gd name="T52" fmla="*/ 2147483647 w 1295"/>
                  <a:gd name="T53" fmla="*/ 2147483647 h 1424"/>
                  <a:gd name="T54" fmla="*/ 2147483647 w 1295"/>
                  <a:gd name="T55" fmla="*/ 2147483647 h 1424"/>
                  <a:gd name="T56" fmla="*/ 2147483647 w 1295"/>
                  <a:gd name="T57" fmla="*/ 2147483647 h 1424"/>
                  <a:gd name="T58" fmla="*/ 2147483647 w 1295"/>
                  <a:gd name="T59" fmla="*/ 2147483647 h 1424"/>
                  <a:gd name="T60" fmla="*/ 2147483647 w 1295"/>
                  <a:gd name="T61" fmla="*/ 2147483647 h 1424"/>
                  <a:gd name="T62" fmla="*/ 2147483647 w 1295"/>
                  <a:gd name="T63" fmla="*/ 2147483647 h 1424"/>
                  <a:gd name="T64" fmla="*/ 2147483647 w 1295"/>
                  <a:gd name="T65" fmla="*/ 2147483647 h 1424"/>
                  <a:gd name="T66" fmla="*/ 2147483647 w 1295"/>
                  <a:gd name="T67" fmla="*/ 2147483647 h 1424"/>
                  <a:gd name="T68" fmla="*/ 2147483647 w 1295"/>
                  <a:gd name="T69" fmla="*/ 2147483647 h 1424"/>
                  <a:gd name="T70" fmla="*/ 2147483647 w 1295"/>
                  <a:gd name="T71" fmla="*/ 2147483647 h 1424"/>
                  <a:gd name="T72" fmla="*/ 2147483647 w 1295"/>
                  <a:gd name="T73" fmla="*/ 2147483647 h 1424"/>
                  <a:gd name="T74" fmla="*/ 2147483647 w 1295"/>
                  <a:gd name="T75" fmla="*/ 2147483647 h 1424"/>
                  <a:gd name="T76" fmla="*/ 2147483647 w 1295"/>
                  <a:gd name="T77" fmla="*/ 2147483647 h 1424"/>
                  <a:gd name="T78" fmla="*/ 2147483647 w 1295"/>
                  <a:gd name="T79" fmla="*/ 2147483647 h 1424"/>
                  <a:gd name="T80" fmla="*/ 2147483647 w 1295"/>
                  <a:gd name="T81" fmla="*/ 2147483647 h 1424"/>
                  <a:gd name="T82" fmla="*/ 2147483647 w 1295"/>
                  <a:gd name="T83" fmla="*/ 2147483647 h 14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95"/>
                  <a:gd name="T127" fmla="*/ 0 h 1424"/>
                  <a:gd name="T128" fmla="*/ 1295 w 1295"/>
                  <a:gd name="T129" fmla="*/ 1424 h 142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95" h="1424">
                    <a:moveTo>
                      <a:pt x="640" y="1295"/>
                    </a:moveTo>
                    <a:lnTo>
                      <a:pt x="640" y="1295"/>
                    </a:lnTo>
                    <a:lnTo>
                      <a:pt x="640" y="1294"/>
                    </a:lnTo>
                    <a:lnTo>
                      <a:pt x="640" y="1261"/>
                    </a:lnTo>
                    <a:lnTo>
                      <a:pt x="636" y="1228"/>
                    </a:lnTo>
                    <a:lnTo>
                      <a:pt x="632" y="1196"/>
                    </a:lnTo>
                    <a:lnTo>
                      <a:pt x="626" y="1165"/>
                    </a:lnTo>
                    <a:lnTo>
                      <a:pt x="618" y="1134"/>
                    </a:lnTo>
                    <a:lnTo>
                      <a:pt x="611" y="1103"/>
                    </a:lnTo>
                    <a:lnTo>
                      <a:pt x="601" y="1075"/>
                    </a:lnTo>
                    <a:lnTo>
                      <a:pt x="590" y="1046"/>
                    </a:lnTo>
                    <a:lnTo>
                      <a:pt x="576" y="1017"/>
                    </a:lnTo>
                    <a:lnTo>
                      <a:pt x="563" y="990"/>
                    </a:lnTo>
                    <a:lnTo>
                      <a:pt x="545" y="963"/>
                    </a:lnTo>
                    <a:lnTo>
                      <a:pt x="530" y="936"/>
                    </a:lnTo>
                    <a:lnTo>
                      <a:pt x="513" y="911"/>
                    </a:lnTo>
                    <a:lnTo>
                      <a:pt x="494" y="886"/>
                    </a:lnTo>
                    <a:lnTo>
                      <a:pt x="472" y="863"/>
                    </a:lnTo>
                    <a:lnTo>
                      <a:pt x="451" y="842"/>
                    </a:lnTo>
                    <a:lnTo>
                      <a:pt x="430" y="821"/>
                    </a:lnTo>
                    <a:lnTo>
                      <a:pt x="405" y="800"/>
                    </a:lnTo>
                    <a:lnTo>
                      <a:pt x="382" y="781"/>
                    </a:lnTo>
                    <a:lnTo>
                      <a:pt x="357" y="763"/>
                    </a:lnTo>
                    <a:lnTo>
                      <a:pt x="330" y="746"/>
                    </a:lnTo>
                    <a:lnTo>
                      <a:pt x="303" y="731"/>
                    </a:lnTo>
                    <a:lnTo>
                      <a:pt x="277" y="717"/>
                    </a:lnTo>
                    <a:lnTo>
                      <a:pt x="248" y="704"/>
                    </a:lnTo>
                    <a:lnTo>
                      <a:pt x="219" y="692"/>
                    </a:lnTo>
                    <a:lnTo>
                      <a:pt x="190" y="683"/>
                    </a:lnTo>
                    <a:lnTo>
                      <a:pt x="159" y="675"/>
                    </a:lnTo>
                    <a:lnTo>
                      <a:pt x="129" y="667"/>
                    </a:lnTo>
                    <a:lnTo>
                      <a:pt x="98" y="661"/>
                    </a:lnTo>
                    <a:lnTo>
                      <a:pt x="65" y="658"/>
                    </a:lnTo>
                    <a:lnTo>
                      <a:pt x="33" y="656"/>
                    </a:lnTo>
                    <a:lnTo>
                      <a:pt x="0" y="654"/>
                    </a:lnTo>
                    <a:lnTo>
                      <a:pt x="0" y="652"/>
                    </a:lnTo>
                    <a:lnTo>
                      <a:pt x="63" y="492"/>
                    </a:lnTo>
                    <a:lnTo>
                      <a:pt x="127" y="329"/>
                    </a:lnTo>
                    <a:lnTo>
                      <a:pt x="63" y="164"/>
                    </a:lnTo>
                    <a:lnTo>
                      <a:pt x="0" y="4"/>
                    </a:lnTo>
                    <a:lnTo>
                      <a:pt x="0" y="0"/>
                    </a:lnTo>
                    <a:lnTo>
                      <a:pt x="67" y="2"/>
                    </a:lnTo>
                    <a:lnTo>
                      <a:pt x="133" y="6"/>
                    </a:lnTo>
                    <a:lnTo>
                      <a:pt x="196" y="16"/>
                    </a:lnTo>
                    <a:lnTo>
                      <a:pt x="259" y="27"/>
                    </a:lnTo>
                    <a:lnTo>
                      <a:pt x="323" y="41"/>
                    </a:lnTo>
                    <a:lnTo>
                      <a:pt x="384" y="58"/>
                    </a:lnTo>
                    <a:lnTo>
                      <a:pt x="444" y="79"/>
                    </a:lnTo>
                    <a:lnTo>
                      <a:pt x="501" y="102"/>
                    </a:lnTo>
                    <a:lnTo>
                      <a:pt x="559" y="127"/>
                    </a:lnTo>
                    <a:lnTo>
                      <a:pt x="615" y="156"/>
                    </a:lnTo>
                    <a:lnTo>
                      <a:pt x="668" y="187"/>
                    </a:lnTo>
                    <a:lnTo>
                      <a:pt x="722" y="221"/>
                    </a:lnTo>
                    <a:lnTo>
                      <a:pt x="772" y="258"/>
                    </a:lnTo>
                    <a:lnTo>
                      <a:pt x="822" y="296"/>
                    </a:lnTo>
                    <a:lnTo>
                      <a:pt x="868" y="337"/>
                    </a:lnTo>
                    <a:lnTo>
                      <a:pt x="912" y="379"/>
                    </a:lnTo>
                    <a:lnTo>
                      <a:pt x="957" y="425"/>
                    </a:lnTo>
                    <a:lnTo>
                      <a:pt x="997" y="471"/>
                    </a:lnTo>
                    <a:lnTo>
                      <a:pt x="1035" y="521"/>
                    </a:lnTo>
                    <a:lnTo>
                      <a:pt x="1072" y="571"/>
                    </a:lnTo>
                    <a:lnTo>
                      <a:pt x="1104" y="623"/>
                    </a:lnTo>
                    <a:lnTo>
                      <a:pt x="1137" y="677"/>
                    </a:lnTo>
                    <a:lnTo>
                      <a:pt x="1164" y="732"/>
                    </a:lnTo>
                    <a:lnTo>
                      <a:pt x="1191" y="790"/>
                    </a:lnTo>
                    <a:lnTo>
                      <a:pt x="1214" y="850"/>
                    </a:lnTo>
                    <a:lnTo>
                      <a:pt x="1235" y="909"/>
                    </a:lnTo>
                    <a:lnTo>
                      <a:pt x="1252" y="971"/>
                    </a:lnTo>
                    <a:lnTo>
                      <a:pt x="1266" y="1032"/>
                    </a:lnTo>
                    <a:lnTo>
                      <a:pt x="1277" y="1096"/>
                    </a:lnTo>
                    <a:lnTo>
                      <a:pt x="1287" y="1161"/>
                    </a:lnTo>
                    <a:lnTo>
                      <a:pt x="1291" y="1226"/>
                    </a:lnTo>
                    <a:lnTo>
                      <a:pt x="1293" y="1294"/>
                    </a:lnTo>
                    <a:lnTo>
                      <a:pt x="1295" y="1294"/>
                    </a:lnTo>
                    <a:lnTo>
                      <a:pt x="1131" y="1359"/>
                    </a:lnTo>
                    <a:lnTo>
                      <a:pt x="968" y="1424"/>
                    </a:lnTo>
                    <a:lnTo>
                      <a:pt x="803" y="1359"/>
                    </a:lnTo>
                    <a:lnTo>
                      <a:pt x="640" y="1295"/>
                    </a:lnTo>
                    <a:close/>
                  </a:path>
                </a:pathLst>
              </a:custGeom>
              <a:solidFill>
                <a:schemeClr val="tx2"/>
              </a:solidFill>
              <a:ln w="9525" cap="rnd">
                <a:solidFill>
                  <a:schemeClr val="bg1"/>
                </a:solidFill>
                <a:round/>
                <a:headEnd/>
                <a:tailEnd/>
              </a:ln>
            </p:spPr>
            <p:txBody>
              <a:bodyPr lIns="103900" tIns="51951" rIns="103900" bIns="51951" anchor="ctr"/>
              <a:lstStyle/>
              <a:p>
                <a:endParaRPr lang="en-US" dirty="0">
                  <a:solidFill>
                    <a:schemeClr val="bg1"/>
                  </a:solidFill>
                  <a:sym typeface="Trebuchet MS" panose="020B0603020202020204" pitchFamily="34" charset="0"/>
                </a:endParaRPr>
              </a:p>
            </p:txBody>
          </p:sp>
          <p:sp>
            <p:nvSpPr>
              <p:cNvPr id="3" name="CircleSegment"/>
              <p:cNvSpPr>
                <a:spLocks/>
              </p:cNvSpPr>
              <p:nvPr>
                <p:custDataLst>
                  <p:tags r:id="rId9"/>
                </p:custDataLst>
              </p:nvPr>
            </p:nvSpPr>
            <p:spPr bwMode="gray">
              <a:xfrm>
                <a:off x="5892077" y="3817940"/>
                <a:ext cx="2240747" cy="2039937"/>
              </a:xfrm>
              <a:custGeom>
                <a:avLst/>
                <a:gdLst>
                  <a:gd name="T0" fmla="*/ 2147483647 w 1422"/>
                  <a:gd name="T1" fmla="*/ 2147483647 h 1294"/>
                  <a:gd name="T2" fmla="*/ 2147483647 w 1422"/>
                  <a:gd name="T3" fmla="*/ 2147483647 h 1294"/>
                  <a:gd name="T4" fmla="*/ 2147483647 w 1422"/>
                  <a:gd name="T5" fmla="*/ 2147483647 h 1294"/>
                  <a:gd name="T6" fmla="*/ 2147483647 w 1422"/>
                  <a:gd name="T7" fmla="*/ 2147483647 h 1294"/>
                  <a:gd name="T8" fmla="*/ 2147483647 w 1422"/>
                  <a:gd name="T9" fmla="*/ 2147483647 h 1294"/>
                  <a:gd name="T10" fmla="*/ 2147483647 w 1422"/>
                  <a:gd name="T11" fmla="*/ 2147483647 h 1294"/>
                  <a:gd name="T12" fmla="*/ 2147483647 w 1422"/>
                  <a:gd name="T13" fmla="*/ 2147483647 h 1294"/>
                  <a:gd name="T14" fmla="*/ 2147483647 w 1422"/>
                  <a:gd name="T15" fmla="*/ 2147483647 h 1294"/>
                  <a:gd name="T16" fmla="*/ 2147483647 w 1422"/>
                  <a:gd name="T17" fmla="*/ 2147483647 h 1294"/>
                  <a:gd name="T18" fmla="*/ 2147483647 w 1422"/>
                  <a:gd name="T19" fmla="*/ 2147483647 h 1294"/>
                  <a:gd name="T20" fmla="*/ 2147483647 w 1422"/>
                  <a:gd name="T21" fmla="*/ 2147483647 h 1294"/>
                  <a:gd name="T22" fmla="*/ 2147483647 w 1422"/>
                  <a:gd name="T23" fmla="*/ 2147483647 h 1294"/>
                  <a:gd name="T24" fmla="*/ 2147483647 w 1422"/>
                  <a:gd name="T25" fmla="*/ 2147483647 h 1294"/>
                  <a:gd name="T26" fmla="*/ 2147483647 w 1422"/>
                  <a:gd name="T27" fmla="*/ 2147483647 h 1294"/>
                  <a:gd name="T28" fmla="*/ 2147483647 w 1422"/>
                  <a:gd name="T29" fmla="*/ 2147483647 h 1294"/>
                  <a:gd name="T30" fmla="*/ 2147483647 w 1422"/>
                  <a:gd name="T31" fmla="*/ 2147483647 h 1294"/>
                  <a:gd name="T32" fmla="*/ 2147483647 w 1422"/>
                  <a:gd name="T33" fmla="*/ 2147483647 h 1294"/>
                  <a:gd name="T34" fmla="*/ 2147483647 w 1422"/>
                  <a:gd name="T35" fmla="*/ 2147483647 h 1294"/>
                  <a:gd name="T36" fmla="*/ 2147483647 w 1422"/>
                  <a:gd name="T37" fmla="*/ 2147483647 h 1294"/>
                  <a:gd name="T38" fmla="*/ 2147483647 w 1422"/>
                  <a:gd name="T39" fmla="*/ 0 h 1294"/>
                  <a:gd name="T40" fmla="*/ 2147483647 w 1422"/>
                  <a:gd name="T41" fmla="*/ 2147483647 h 1294"/>
                  <a:gd name="T42" fmla="*/ 2147483647 w 1422"/>
                  <a:gd name="T43" fmla="*/ 2147483647 h 1294"/>
                  <a:gd name="T44" fmla="*/ 2147483647 w 1422"/>
                  <a:gd name="T45" fmla="*/ 2147483647 h 1294"/>
                  <a:gd name="T46" fmla="*/ 2147483647 w 1422"/>
                  <a:gd name="T47" fmla="*/ 2147483647 h 1294"/>
                  <a:gd name="T48" fmla="*/ 2147483647 w 1422"/>
                  <a:gd name="T49" fmla="*/ 2147483647 h 1294"/>
                  <a:gd name="T50" fmla="*/ 2147483647 w 1422"/>
                  <a:gd name="T51" fmla="*/ 2147483647 h 1294"/>
                  <a:gd name="T52" fmla="*/ 2147483647 w 1422"/>
                  <a:gd name="T53" fmla="*/ 2147483647 h 1294"/>
                  <a:gd name="T54" fmla="*/ 2147483647 w 1422"/>
                  <a:gd name="T55" fmla="*/ 2147483647 h 1294"/>
                  <a:gd name="T56" fmla="*/ 2147483647 w 1422"/>
                  <a:gd name="T57" fmla="*/ 2147483647 h 1294"/>
                  <a:gd name="T58" fmla="*/ 2147483647 w 1422"/>
                  <a:gd name="T59" fmla="*/ 2147483647 h 1294"/>
                  <a:gd name="T60" fmla="*/ 2147483647 w 1422"/>
                  <a:gd name="T61" fmla="*/ 2147483647 h 1294"/>
                  <a:gd name="T62" fmla="*/ 2147483647 w 1422"/>
                  <a:gd name="T63" fmla="*/ 2147483647 h 1294"/>
                  <a:gd name="T64" fmla="*/ 2147483647 w 1422"/>
                  <a:gd name="T65" fmla="*/ 2147483647 h 1294"/>
                  <a:gd name="T66" fmla="*/ 2147483647 w 1422"/>
                  <a:gd name="T67" fmla="*/ 2147483647 h 1294"/>
                  <a:gd name="T68" fmla="*/ 2147483647 w 1422"/>
                  <a:gd name="T69" fmla="*/ 2147483647 h 1294"/>
                  <a:gd name="T70" fmla="*/ 2147483647 w 1422"/>
                  <a:gd name="T71" fmla="*/ 2147483647 h 1294"/>
                  <a:gd name="T72" fmla="*/ 2147483647 w 1422"/>
                  <a:gd name="T73" fmla="*/ 2147483647 h 1294"/>
                  <a:gd name="T74" fmla="*/ 2147483647 w 1422"/>
                  <a:gd name="T75" fmla="*/ 2147483647 h 1294"/>
                  <a:gd name="T76" fmla="*/ 2147483647 w 1422"/>
                  <a:gd name="T77" fmla="*/ 2147483647 h 1294"/>
                  <a:gd name="T78" fmla="*/ 2147483647 w 1422"/>
                  <a:gd name="T79" fmla="*/ 2147483647 h 1294"/>
                  <a:gd name="T80" fmla="*/ 2147483647 w 1422"/>
                  <a:gd name="T81" fmla="*/ 2147483647 h 1294"/>
                  <a:gd name="T82" fmla="*/ 0 w 1422"/>
                  <a:gd name="T83" fmla="*/ 2147483647 h 12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22"/>
                  <a:gd name="T127" fmla="*/ 0 h 1294"/>
                  <a:gd name="T128" fmla="*/ 1422 w 1422"/>
                  <a:gd name="T129" fmla="*/ 1294 h 12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22" h="1294">
                    <a:moveTo>
                      <a:pt x="0" y="965"/>
                    </a:moveTo>
                    <a:lnTo>
                      <a:pt x="66" y="802"/>
                    </a:lnTo>
                    <a:lnTo>
                      <a:pt x="129" y="642"/>
                    </a:lnTo>
                    <a:lnTo>
                      <a:pt x="129" y="640"/>
                    </a:lnTo>
                    <a:lnTo>
                      <a:pt x="131" y="640"/>
                    </a:lnTo>
                    <a:lnTo>
                      <a:pt x="131" y="638"/>
                    </a:lnTo>
                    <a:lnTo>
                      <a:pt x="131" y="640"/>
                    </a:lnTo>
                    <a:lnTo>
                      <a:pt x="164" y="638"/>
                    </a:lnTo>
                    <a:lnTo>
                      <a:pt x="196" y="636"/>
                    </a:lnTo>
                    <a:lnTo>
                      <a:pt x="227" y="633"/>
                    </a:lnTo>
                    <a:lnTo>
                      <a:pt x="260" y="627"/>
                    </a:lnTo>
                    <a:lnTo>
                      <a:pt x="290" y="619"/>
                    </a:lnTo>
                    <a:lnTo>
                      <a:pt x="319" y="610"/>
                    </a:lnTo>
                    <a:lnTo>
                      <a:pt x="350" y="600"/>
                    </a:lnTo>
                    <a:lnTo>
                      <a:pt x="379" y="588"/>
                    </a:lnTo>
                    <a:lnTo>
                      <a:pt x="408" y="575"/>
                    </a:lnTo>
                    <a:lnTo>
                      <a:pt x="434" y="562"/>
                    </a:lnTo>
                    <a:lnTo>
                      <a:pt x="461" y="546"/>
                    </a:lnTo>
                    <a:lnTo>
                      <a:pt x="486" y="529"/>
                    </a:lnTo>
                    <a:lnTo>
                      <a:pt x="511" y="512"/>
                    </a:lnTo>
                    <a:lnTo>
                      <a:pt x="536" y="492"/>
                    </a:lnTo>
                    <a:lnTo>
                      <a:pt x="559" y="473"/>
                    </a:lnTo>
                    <a:lnTo>
                      <a:pt x="582" y="452"/>
                    </a:lnTo>
                    <a:lnTo>
                      <a:pt x="603" y="429"/>
                    </a:lnTo>
                    <a:lnTo>
                      <a:pt x="623" y="406"/>
                    </a:lnTo>
                    <a:lnTo>
                      <a:pt x="642" y="381"/>
                    </a:lnTo>
                    <a:lnTo>
                      <a:pt x="659" y="356"/>
                    </a:lnTo>
                    <a:lnTo>
                      <a:pt x="676" y="331"/>
                    </a:lnTo>
                    <a:lnTo>
                      <a:pt x="692" y="304"/>
                    </a:lnTo>
                    <a:lnTo>
                      <a:pt x="705" y="277"/>
                    </a:lnTo>
                    <a:lnTo>
                      <a:pt x="719" y="248"/>
                    </a:lnTo>
                    <a:lnTo>
                      <a:pt x="730" y="219"/>
                    </a:lnTo>
                    <a:lnTo>
                      <a:pt x="740" y="189"/>
                    </a:lnTo>
                    <a:lnTo>
                      <a:pt x="747" y="160"/>
                    </a:lnTo>
                    <a:lnTo>
                      <a:pt x="755" y="127"/>
                    </a:lnTo>
                    <a:lnTo>
                      <a:pt x="761" y="97"/>
                    </a:lnTo>
                    <a:lnTo>
                      <a:pt x="765" y="66"/>
                    </a:lnTo>
                    <a:lnTo>
                      <a:pt x="769" y="33"/>
                    </a:lnTo>
                    <a:lnTo>
                      <a:pt x="769" y="0"/>
                    </a:lnTo>
                    <a:lnTo>
                      <a:pt x="932" y="64"/>
                    </a:lnTo>
                    <a:lnTo>
                      <a:pt x="1097" y="129"/>
                    </a:lnTo>
                    <a:lnTo>
                      <a:pt x="1260" y="64"/>
                    </a:lnTo>
                    <a:lnTo>
                      <a:pt x="1422" y="0"/>
                    </a:lnTo>
                    <a:lnTo>
                      <a:pt x="1420" y="66"/>
                    </a:lnTo>
                    <a:lnTo>
                      <a:pt x="1416" y="131"/>
                    </a:lnTo>
                    <a:lnTo>
                      <a:pt x="1406" y="196"/>
                    </a:lnTo>
                    <a:lnTo>
                      <a:pt x="1395" y="260"/>
                    </a:lnTo>
                    <a:lnTo>
                      <a:pt x="1381" y="323"/>
                    </a:lnTo>
                    <a:lnTo>
                      <a:pt x="1364" y="383"/>
                    </a:lnTo>
                    <a:lnTo>
                      <a:pt x="1343" y="444"/>
                    </a:lnTo>
                    <a:lnTo>
                      <a:pt x="1320" y="502"/>
                    </a:lnTo>
                    <a:lnTo>
                      <a:pt x="1295" y="560"/>
                    </a:lnTo>
                    <a:lnTo>
                      <a:pt x="1266" y="615"/>
                    </a:lnTo>
                    <a:lnTo>
                      <a:pt x="1235" y="669"/>
                    </a:lnTo>
                    <a:lnTo>
                      <a:pt x="1201" y="721"/>
                    </a:lnTo>
                    <a:lnTo>
                      <a:pt x="1164" y="773"/>
                    </a:lnTo>
                    <a:lnTo>
                      <a:pt x="1126" y="821"/>
                    </a:lnTo>
                    <a:lnTo>
                      <a:pt x="1086" y="869"/>
                    </a:lnTo>
                    <a:lnTo>
                      <a:pt x="1043" y="913"/>
                    </a:lnTo>
                    <a:lnTo>
                      <a:pt x="997" y="955"/>
                    </a:lnTo>
                    <a:lnTo>
                      <a:pt x="951" y="998"/>
                    </a:lnTo>
                    <a:lnTo>
                      <a:pt x="903" y="1036"/>
                    </a:lnTo>
                    <a:lnTo>
                      <a:pt x="851" y="1071"/>
                    </a:lnTo>
                    <a:lnTo>
                      <a:pt x="799" y="1105"/>
                    </a:lnTo>
                    <a:lnTo>
                      <a:pt x="746" y="1136"/>
                    </a:lnTo>
                    <a:lnTo>
                      <a:pt x="690" y="1165"/>
                    </a:lnTo>
                    <a:lnTo>
                      <a:pt x="632" y="1192"/>
                    </a:lnTo>
                    <a:lnTo>
                      <a:pt x="575" y="1215"/>
                    </a:lnTo>
                    <a:lnTo>
                      <a:pt x="513" y="1234"/>
                    </a:lnTo>
                    <a:lnTo>
                      <a:pt x="454" y="1253"/>
                    </a:lnTo>
                    <a:lnTo>
                      <a:pt x="390" y="1267"/>
                    </a:lnTo>
                    <a:lnTo>
                      <a:pt x="327" y="1278"/>
                    </a:lnTo>
                    <a:lnTo>
                      <a:pt x="262" y="1286"/>
                    </a:lnTo>
                    <a:lnTo>
                      <a:pt x="196" y="1292"/>
                    </a:lnTo>
                    <a:lnTo>
                      <a:pt x="131" y="1294"/>
                    </a:lnTo>
                    <a:lnTo>
                      <a:pt x="129" y="1294"/>
                    </a:lnTo>
                    <a:lnTo>
                      <a:pt x="129" y="1290"/>
                    </a:lnTo>
                    <a:lnTo>
                      <a:pt x="66" y="1130"/>
                    </a:lnTo>
                    <a:lnTo>
                      <a:pt x="0" y="965"/>
                    </a:lnTo>
                    <a:close/>
                  </a:path>
                </a:pathLst>
              </a:custGeom>
              <a:solidFill>
                <a:schemeClr val="tx2"/>
              </a:solidFill>
              <a:ln w="9525" cap="rnd" algn="ctr">
                <a:solidFill>
                  <a:schemeClr val="bg1"/>
                </a:solidFill>
                <a:round/>
                <a:headEnd/>
                <a:tailEnd/>
              </a:ln>
            </p:spPr>
            <p:txBody>
              <a:bodyPr lIns="103900" tIns="51951" rIns="103900" bIns="51951"/>
              <a:lstStyle/>
              <a:p>
                <a:pPr marL="207435"/>
                <a:endParaRPr lang="en-US" dirty="0" smtClean="0">
                  <a:solidFill>
                    <a:schemeClr val="bg1"/>
                  </a:solidFill>
                  <a:sym typeface="Trebuchet MS" panose="020B0603020202020204" pitchFamily="34" charset="0"/>
                </a:endParaRPr>
              </a:p>
              <a:p>
                <a:pPr marL="207435" algn="ctr"/>
                <a:endParaRPr lang="en-US" dirty="0" smtClean="0">
                  <a:solidFill>
                    <a:schemeClr val="bg1"/>
                  </a:solidFill>
                  <a:sym typeface="Trebuchet MS" panose="020B0603020202020204" pitchFamily="34" charset="0"/>
                </a:endParaRPr>
              </a:p>
              <a:p>
                <a:pPr marL="207435" algn="ctr"/>
                <a:endParaRPr lang="en-US" dirty="0" smtClean="0">
                  <a:solidFill>
                    <a:schemeClr val="bg1"/>
                  </a:solidFill>
                  <a:sym typeface="Trebuchet MS" panose="020B0603020202020204" pitchFamily="34" charset="0"/>
                </a:endParaRPr>
              </a:p>
              <a:p>
                <a:pPr marL="207435" algn="ctr"/>
                <a:endParaRPr lang="en-US" dirty="0" smtClean="0">
                  <a:solidFill>
                    <a:schemeClr val="bg1"/>
                  </a:solidFill>
                  <a:sym typeface="Trebuchet MS" panose="020B0603020202020204" pitchFamily="34" charset="0"/>
                </a:endParaRPr>
              </a:p>
              <a:p>
                <a:pPr marL="207435" algn="ctr"/>
                <a:endParaRPr lang="en-US" dirty="0">
                  <a:solidFill>
                    <a:schemeClr val="bg1"/>
                  </a:solidFill>
                </a:endParaRPr>
              </a:p>
            </p:txBody>
          </p:sp>
          <p:sp>
            <p:nvSpPr>
              <p:cNvPr id="4" name="CircleSegment"/>
              <p:cNvSpPr>
                <a:spLocks/>
              </p:cNvSpPr>
              <p:nvPr>
                <p:custDataLst>
                  <p:tags r:id="rId10"/>
                </p:custDataLst>
              </p:nvPr>
            </p:nvSpPr>
            <p:spPr bwMode="gray">
              <a:xfrm>
                <a:off x="4056000" y="3613151"/>
                <a:ext cx="2040793" cy="2244725"/>
              </a:xfrm>
              <a:custGeom>
                <a:avLst/>
                <a:gdLst>
                  <a:gd name="T0" fmla="*/ 2147483647 w 1295"/>
                  <a:gd name="T1" fmla="*/ 2147483647 h 1424"/>
                  <a:gd name="T2" fmla="*/ 2147483647 w 1295"/>
                  <a:gd name="T3" fmla="*/ 2147483647 h 1424"/>
                  <a:gd name="T4" fmla="*/ 2147483647 w 1295"/>
                  <a:gd name="T5" fmla="*/ 2147483647 h 1424"/>
                  <a:gd name="T6" fmla="*/ 2147483647 w 1295"/>
                  <a:gd name="T7" fmla="*/ 2147483647 h 1424"/>
                  <a:gd name="T8" fmla="*/ 2147483647 w 1295"/>
                  <a:gd name="T9" fmla="*/ 2147483647 h 1424"/>
                  <a:gd name="T10" fmla="*/ 2147483647 w 1295"/>
                  <a:gd name="T11" fmla="*/ 2147483647 h 1424"/>
                  <a:gd name="T12" fmla="*/ 2147483647 w 1295"/>
                  <a:gd name="T13" fmla="*/ 2147483647 h 1424"/>
                  <a:gd name="T14" fmla="*/ 2147483647 w 1295"/>
                  <a:gd name="T15" fmla="*/ 2147483647 h 1424"/>
                  <a:gd name="T16" fmla="*/ 2147483647 w 1295"/>
                  <a:gd name="T17" fmla="*/ 2147483647 h 1424"/>
                  <a:gd name="T18" fmla="*/ 2147483647 w 1295"/>
                  <a:gd name="T19" fmla="*/ 2147483647 h 1424"/>
                  <a:gd name="T20" fmla="*/ 2147483647 w 1295"/>
                  <a:gd name="T21" fmla="*/ 2147483647 h 1424"/>
                  <a:gd name="T22" fmla="*/ 2147483647 w 1295"/>
                  <a:gd name="T23" fmla="*/ 2147483647 h 1424"/>
                  <a:gd name="T24" fmla="*/ 2147483647 w 1295"/>
                  <a:gd name="T25" fmla="*/ 2147483647 h 1424"/>
                  <a:gd name="T26" fmla="*/ 2147483647 w 1295"/>
                  <a:gd name="T27" fmla="*/ 2147483647 h 1424"/>
                  <a:gd name="T28" fmla="*/ 2147483647 w 1295"/>
                  <a:gd name="T29" fmla="*/ 2147483647 h 1424"/>
                  <a:gd name="T30" fmla="*/ 2147483647 w 1295"/>
                  <a:gd name="T31" fmla="*/ 2147483647 h 1424"/>
                  <a:gd name="T32" fmla="*/ 2147483647 w 1295"/>
                  <a:gd name="T33" fmla="*/ 2147483647 h 1424"/>
                  <a:gd name="T34" fmla="*/ 2147483647 w 1295"/>
                  <a:gd name="T35" fmla="*/ 2147483647 h 1424"/>
                  <a:gd name="T36" fmla="*/ 2147483647 w 1295"/>
                  <a:gd name="T37" fmla="*/ 2147483647 h 1424"/>
                  <a:gd name="T38" fmla="*/ 2147483647 w 1295"/>
                  <a:gd name="T39" fmla="*/ 2147483647 h 1424"/>
                  <a:gd name="T40" fmla="*/ 2147483647 w 1295"/>
                  <a:gd name="T41" fmla="*/ 2147483647 h 1424"/>
                  <a:gd name="T42" fmla="*/ 2147483647 w 1295"/>
                  <a:gd name="T43" fmla="*/ 2147483647 h 1424"/>
                  <a:gd name="T44" fmla="*/ 2147483647 w 1295"/>
                  <a:gd name="T45" fmla="*/ 2147483647 h 1424"/>
                  <a:gd name="T46" fmla="*/ 2147483647 w 1295"/>
                  <a:gd name="T47" fmla="*/ 2147483647 h 1424"/>
                  <a:gd name="T48" fmla="*/ 2147483647 w 1295"/>
                  <a:gd name="T49" fmla="*/ 2147483647 h 1424"/>
                  <a:gd name="T50" fmla="*/ 2147483647 w 1295"/>
                  <a:gd name="T51" fmla="*/ 2147483647 h 1424"/>
                  <a:gd name="T52" fmla="*/ 2147483647 w 1295"/>
                  <a:gd name="T53" fmla="*/ 2147483647 h 1424"/>
                  <a:gd name="T54" fmla="*/ 2147483647 w 1295"/>
                  <a:gd name="T55" fmla="*/ 2147483647 h 1424"/>
                  <a:gd name="T56" fmla="*/ 2147483647 w 1295"/>
                  <a:gd name="T57" fmla="*/ 2147483647 h 1424"/>
                  <a:gd name="T58" fmla="*/ 2147483647 w 1295"/>
                  <a:gd name="T59" fmla="*/ 2147483647 h 1424"/>
                  <a:gd name="T60" fmla="*/ 2147483647 w 1295"/>
                  <a:gd name="T61" fmla="*/ 2147483647 h 1424"/>
                  <a:gd name="T62" fmla="*/ 2147483647 w 1295"/>
                  <a:gd name="T63" fmla="*/ 2147483647 h 1424"/>
                  <a:gd name="T64" fmla="*/ 2147483647 w 1295"/>
                  <a:gd name="T65" fmla="*/ 2147483647 h 1424"/>
                  <a:gd name="T66" fmla="*/ 2147483647 w 1295"/>
                  <a:gd name="T67" fmla="*/ 2147483647 h 1424"/>
                  <a:gd name="T68" fmla="*/ 2147483647 w 1295"/>
                  <a:gd name="T69" fmla="*/ 2147483647 h 1424"/>
                  <a:gd name="T70" fmla="*/ 2147483647 w 1295"/>
                  <a:gd name="T71" fmla="*/ 2147483647 h 1424"/>
                  <a:gd name="T72" fmla="*/ 2147483647 w 1295"/>
                  <a:gd name="T73" fmla="*/ 2147483647 h 1424"/>
                  <a:gd name="T74" fmla="*/ 2147483647 w 1295"/>
                  <a:gd name="T75" fmla="*/ 2147483647 h 1424"/>
                  <a:gd name="T76" fmla="*/ 2147483647 w 1295"/>
                  <a:gd name="T77" fmla="*/ 2147483647 h 1424"/>
                  <a:gd name="T78" fmla="*/ 0 w 1295"/>
                  <a:gd name="T79" fmla="*/ 2147483647 h 1424"/>
                  <a:gd name="T80" fmla="*/ 2147483647 w 1295"/>
                  <a:gd name="T81" fmla="*/ 0 h 1424"/>
                  <a:gd name="T82" fmla="*/ 2147483647 w 1295"/>
                  <a:gd name="T83" fmla="*/ 2147483647 h 14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95"/>
                  <a:gd name="T127" fmla="*/ 0 h 1424"/>
                  <a:gd name="T128" fmla="*/ 1295 w 1295"/>
                  <a:gd name="T129" fmla="*/ 1424 h 142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95" h="1424">
                    <a:moveTo>
                      <a:pt x="655" y="129"/>
                    </a:moveTo>
                    <a:lnTo>
                      <a:pt x="655" y="129"/>
                    </a:lnTo>
                    <a:lnTo>
                      <a:pt x="655" y="130"/>
                    </a:lnTo>
                    <a:lnTo>
                      <a:pt x="655" y="163"/>
                    </a:lnTo>
                    <a:lnTo>
                      <a:pt x="659" y="196"/>
                    </a:lnTo>
                    <a:lnTo>
                      <a:pt x="663" y="228"/>
                    </a:lnTo>
                    <a:lnTo>
                      <a:pt x="669" y="259"/>
                    </a:lnTo>
                    <a:lnTo>
                      <a:pt x="677" y="290"/>
                    </a:lnTo>
                    <a:lnTo>
                      <a:pt x="684" y="321"/>
                    </a:lnTo>
                    <a:lnTo>
                      <a:pt x="694" y="349"/>
                    </a:lnTo>
                    <a:lnTo>
                      <a:pt x="705" y="378"/>
                    </a:lnTo>
                    <a:lnTo>
                      <a:pt x="719" y="407"/>
                    </a:lnTo>
                    <a:lnTo>
                      <a:pt x="732" y="434"/>
                    </a:lnTo>
                    <a:lnTo>
                      <a:pt x="748" y="461"/>
                    </a:lnTo>
                    <a:lnTo>
                      <a:pt x="765" y="488"/>
                    </a:lnTo>
                    <a:lnTo>
                      <a:pt x="782" y="513"/>
                    </a:lnTo>
                    <a:lnTo>
                      <a:pt x="801" y="538"/>
                    </a:lnTo>
                    <a:lnTo>
                      <a:pt x="823" y="561"/>
                    </a:lnTo>
                    <a:lnTo>
                      <a:pt x="844" y="582"/>
                    </a:lnTo>
                    <a:lnTo>
                      <a:pt x="865" y="603"/>
                    </a:lnTo>
                    <a:lnTo>
                      <a:pt x="890" y="624"/>
                    </a:lnTo>
                    <a:lnTo>
                      <a:pt x="913" y="643"/>
                    </a:lnTo>
                    <a:lnTo>
                      <a:pt x="938" y="661"/>
                    </a:lnTo>
                    <a:lnTo>
                      <a:pt x="965" y="678"/>
                    </a:lnTo>
                    <a:lnTo>
                      <a:pt x="992" y="693"/>
                    </a:lnTo>
                    <a:lnTo>
                      <a:pt x="1018" y="707"/>
                    </a:lnTo>
                    <a:lnTo>
                      <a:pt x="1047" y="720"/>
                    </a:lnTo>
                    <a:lnTo>
                      <a:pt x="1076" y="732"/>
                    </a:lnTo>
                    <a:lnTo>
                      <a:pt x="1105" y="741"/>
                    </a:lnTo>
                    <a:lnTo>
                      <a:pt x="1136" y="749"/>
                    </a:lnTo>
                    <a:lnTo>
                      <a:pt x="1166" y="757"/>
                    </a:lnTo>
                    <a:lnTo>
                      <a:pt x="1197" y="763"/>
                    </a:lnTo>
                    <a:lnTo>
                      <a:pt x="1230" y="766"/>
                    </a:lnTo>
                    <a:lnTo>
                      <a:pt x="1262" y="768"/>
                    </a:lnTo>
                    <a:lnTo>
                      <a:pt x="1295" y="770"/>
                    </a:lnTo>
                    <a:lnTo>
                      <a:pt x="1295" y="772"/>
                    </a:lnTo>
                    <a:lnTo>
                      <a:pt x="1232" y="932"/>
                    </a:lnTo>
                    <a:lnTo>
                      <a:pt x="1168" y="1095"/>
                    </a:lnTo>
                    <a:lnTo>
                      <a:pt x="1232" y="1260"/>
                    </a:lnTo>
                    <a:lnTo>
                      <a:pt x="1295" y="1420"/>
                    </a:lnTo>
                    <a:lnTo>
                      <a:pt x="1295" y="1424"/>
                    </a:lnTo>
                    <a:lnTo>
                      <a:pt x="1228" y="1422"/>
                    </a:lnTo>
                    <a:lnTo>
                      <a:pt x="1162" y="1418"/>
                    </a:lnTo>
                    <a:lnTo>
                      <a:pt x="1099" y="1408"/>
                    </a:lnTo>
                    <a:lnTo>
                      <a:pt x="1036" y="1397"/>
                    </a:lnTo>
                    <a:lnTo>
                      <a:pt x="972" y="1383"/>
                    </a:lnTo>
                    <a:lnTo>
                      <a:pt x="911" y="1366"/>
                    </a:lnTo>
                    <a:lnTo>
                      <a:pt x="851" y="1345"/>
                    </a:lnTo>
                    <a:lnTo>
                      <a:pt x="794" y="1322"/>
                    </a:lnTo>
                    <a:lnTo>
                      <a:pt x="736" y="1297"/>
                    </a:lnTo>
                    <a:lnTo>
                      <a:pt x="680" y="1268"/>
                    </a:lnTo>
                    <a:lnTo>
                      <a:pt x="627" y="1237"/>
                    </a:lnTo>
                    <a:lnTo>
                      <a:pt x="573" y="1203"/>
                    </a:lnTo>
                    <a:lnTo>
                      <a:pt x="523" y="1166"/>
                    </a:lnTo>
                    <a:lnTo>
                      <a:pt x="473" y="1128"/>
                    </a:lnTo>
                    <a:lnTo>
                      <a:pt x="427" y="1087"/>
                    </a:lnTo>
                    <a:lnTo>
                      <a:pt x="383" y="1045"/>
                    </a:lnTo>
                    <a:lnTo>
                      <a:pt x="338" y="999"/>
                    </a:lnTo>
                    <a:lnTo>
                      <a:pt x="298" y="953"/>
                    </a:lnTo>
                    <a:lnTo>
                      <a:pt x="260" y="903"/>
                    </a:lnTo>
                    <a:lnTo>
                      <a:pt x="223" y="853"/>
                    </a:lnTo>
                    <a:lnTo>
                      <a:pt x="191" y="801"/>
                    </a:lnTo>
                    <a:lnTo>
                      <a:pt x="158" y="747"/>
                    </a:lnTo>
                    <a:lnTo>
                      <a:pt x="131" y="692"/>
                    </a:lnTo>
                    <a:lnTo>
                      <a:pt x="104" y="634"/>
                    </a:lnTo>
                    <a:lnTo>
                      <a:pt x="81" y="574"/>
                    </a:lnTo>
                    <a:lnTo>
                      <a:pt x="60" y="515"/>
                    </a:lnTo>
                    <a:lnTo>
                      <a:pt x="43" y="453"/>
                    </a:lnTo>
                    <a:lnTo>
                      <a:pt x="29" y="392"/>
                    </a:lnTo>
                    <a:lnTo>
                      <a:pt x="18" y="328"/>
                    </a:lnTo>
                    <a:lnTo>
                      <a:pt x="8" y="263"/>
                    </a:lnTo>
                    <a:lnTo>
                      <a:pt x="4" y="198"/>
                    </a:lnTo>
                    <a:lnTo>
                      <a:pt x="2" y="130"/>
                    </a:lnTo>
                    <a:lnTo>
                      <a:pt x="0" y="130"/>
                    </a:lnTo>
                    <a:lnTo>
                      <a:pt x="164" y="65"/>
                    </a:lnTo>
                    <a:lnTo>
                      <a:pt x="327" y="0"/>
                    </a:lnTo>
                    <a:lnTo>
                      <a:pt x="492" y="65"/>
                    </a:lnTo>
                    <a:lnTo>
                      <a:pt x="655" y="129"/>
                    </a:lnTo>
                    <a:close/>
                  </a:path>
                </a:pathLst>
              </a:custGeom>
              <a:solidFill>
                <a:schemeClr val="tx2"/>
              </a:solidFill>
              <a:ln w="9525" cap="rnd">
                <a:solidFill>
                  <a:schemeClr val="bg1"/>
                </a:solidFill>
                <a:round/>
                <a:headEnd/>
                <a:tailEnd/>
              </a:ln>
            </p:spPr>
            <p:txBody>
              <a:bodyPr lIns="103900" tIns="51951" rIns="103900" bIns="51951"/>
              <a:lstStyle/>
              <a:p>
                <a:pPr marL="508666" algn="ctr"/>
                <a:endParaRPr lang="en-US" dirty="0" smtClean="0">
                  <a:solidFill>
                    <a:schemeClr val="bg1"/>
                  </a:solidFill>
                  <a:sym typeface="Trebuchet MS" panose="020B0603020202020204" pitchFamily="34" charset="0"/>
                </a:endParaRPr>
              </a:p>
              <a:p>
                <a:pPr marL="508666" algn="ctr"/>
                <a:endParaRPr lang="en-US" dirty="0" smtClean="0">
                  <a:solidFill>
                    <a:schemeClr val="bg1"/>
                  </a:solidFill>
                  <a:sym typeface="Trebuchet MS" panose="020B0603020202020204" pitchFamily="34" charset="0"/>
                </a:endParaRPr>
              </a:p>
              <a:p>
                <a:pPr marL="508666"/>
                <a:endParaRPr lang="en-US" dirty="0" smtClean="0">
                  <a:solidFill>
                    <a:schemeClr val="bg1"/>
                  </a:solidFill>
                  <a:sym typeface="Trebuchet MS" panose="020B0603020202020204" pitchFamily="34" charset="0"/>
                </a:endParaRPr>
              </a:p>
              <a:p>
                <a:pPr marL="508666"/>
                <a:endParaRPr lang="en-US" dirty="0" smtClean="0">
                  <a:solidFill>
                    <a:schemeClr val="bg1"/>
                  </a:solidFill>
                  <a:sym typeface="Trebuchet MS" panose="020B0603020202020204" pitchFamily="34" charset="0"/>
                </a:endParaRPr>
              </a:p>
              <a:p>
                <a:pPr marL="508666"/>
                <a:endParaRPr lang="en-US" dirty="0">
                  <a:solidFill>
                    <a:schemeClr val="bg1"/>
                  </a:solidFill>
                </a:endParaRPr>
              </a:p>
            </p:txBody>
          </p:sp>
          <p:sp>
            <p:nvSpPr>
              <p:cNvPr id="5" name="CircleSegment"/>
              <p:cNvSpPr>
                <a:spLocks/>
              </p:cNvSpPr>
              <p:nvPr>
                <p:custDataLst>
                  <p:tags r:id="rId11"/>
                </p:custDataLst>
              </p:nvPr>
            </p:nvSpPr>
            <p:spPr bwMode="gray">
              <a:xfrm>
                <a:off x="4059172" y="1778000"/>
                <a:ext cx="2240747" cy="2039939"/>
              </a:xfrm>
              <a:custGeom>
                <a:avLst/>
                <a:gdLst>
                  <a:gd name="T0" fmla="*/ 2147483647 w 1422"/>
                  <a:gd name="T1" fmla="*/ 2147483647 h 1294"/>
                  <a:gd name="T2" fmla="*/ 2147483647 w 1422"/>
                  <a:gd name="T3" fmla="*/ 2147483647 h 1294"/>
                  <a:gd name="T4" fmla="*/ 2147483647 w 1422"/>
                  <a:gd name="T5" fmla="*/ 2147483647 h 1294"/>
                  <a:gd name="T6" fmla="*/ 2147483647 w 1422"/>
                  <a:gd name="T7" fmla="*/ 2147483647 h 1294"/>
                  <a:gd name="T8" fmla="*/ 2147483647 w 1422"/>
                  <a:gd name="T9" fmla="*/ 2147483647 h 1294"/>
                  <a:gd name="T10" fmla="*/ 2147483647 w 1422"/>
                  <a:gd name="T11" fmla="*/ 2147483647 h 1294"/>
                  <a:gd name="T12" fmla="*/ 2147483647 w 1422"/>
                  <a:gd name="T13" fmla="*/ 2147483647 h 1294"/>
                  <a:gd name="T14" fmla="*/ 2147483647 w 1422"/>
                  <a:gd name="T15" fmla="*/ 2147483647 h 1294"/>
                  <a:gd name="T16" fmla="*/ 2147483647 w 1422"/>
                  <a:gd name="T17" fmla="*/ 2147483647 h 1294"/>
                  <a:gd name="T18" fmla="*/ 2147483647 w 1422"/>
                  <a:gd name="T19" fmla="*/ 2147483647 h 1294"/>
                  <a:gd name="T20" fmla="*/ 2147483647 w 1422"/>
                  <a:gd name="T21" fmla="*/ 2147483647 h 1294"/>
                  <a:gd name="T22" fmla="*/ 2147483647 w 1422"/>
                  <a:gd name="T23" fmla="*/ 2147483647 h 1294"/>
                  <a:gd name="T24" fmla="*/ 2147483647 w 1422"/>
                  <a:gd name="T25" fmla="*/ 2147483647 h 1294"/>
                  <a:gd name="T26" fmla="*/ 2147483647 w 1422"/>
                  <a:gd name="T27" fmla="*/ 2147483647 h 1294"/>
                  <a:gd name="T28" fmla="*/ 2147483647 w 1422"/>
                  <a:gd name="T29" fmla="*/ 2147483647 h 1294"/>
                  <a:gd name="T30" fmla="*/ 2147483647 w 1422"/>
                  <a:gd name="T31" fmla="*/ 2147483647 h 1294"/>
                  <a:gd name="T32" fmla="*/ 2147483647 w 1422"/>
                  <a:gd name="T33" fmla="*/ 2147483647 h 1294"/>
                  <a:gd name="T34" fmla="*/ 2147483647 w 1422"/>
                  <a:gd name="T35" fmla="*/ 2147483647 h 1294"/>
                  <a:gd name="T36" fmla="*/ 2147483647 w 1422"/>
                  <a:gd name="T37" fmla="*/ 2147483647 h 1294"/>
                  <a:gd name="T38" fmla="*/ 2147483647 w 1422"/>
                  <a:gd name="T39" fmla="*/ 2147483647 h 1294"/>
                  <a:gd name="T40" fmla="*/ 2147483647 w 1422"/>
                  <a:gd name="T41" fmla="*/ 2147483647 h 1294"/>
                  <a:gd name="T42" fmla="*/ 2147483647 w 1422"/>
                  <a:gd name="T43" fmla="*/ 2147483647 h 1294"/>
                  <a:gd name="T44" fmla="*/ 2147483647 w 1422"/>
                  <a:gd name="T45" fmla="*/ 2147483647 h 1294"/>
                  <a:gd name="T46" fmla="*/ 2147483647 w 1422"/>
                  <a:gd name="T47" fmla="*/ 2147483647 h 1294"/>
                  <a:gd name="T48" fmla="*/ 2147483647 w 1422"/>
                  <a:gd name="T49" fmla="*/ 2147483647 h 1294"/>
                  <a:gd name="T50" fmla="*/ 2147483647 w 1422"/>
                  <a:gd name="T51" fmla="*/ 2147483647 h 1294"/>
                  <a:gd name="T52" fmla="*/ 2147483647 w 1422"/>
                  <a:gd name="T53" fmla="*/ 2147483647 h 1294"/>
                  <a:gd name="T54" fmla="*/ 2147483647 w 1422"/>
                  <a:gd name="T55" fmla="*/ 2147483647 h 1294"/>
                  <a:gd name="T56" fmla="*/ 2147483647 w 1422"/>
                  <a:gd name="T57" fmla="*/ 2147483647 h 1294"/>
                  <a:gd name="T58" fmla="*/ 2147483647 w 1422"/>
                  <a:gd name="T59" fmla="*/ 2147483647 h 1294"/>
                  <a:gd name="T60" fmla="*/ 2147483647 w 1422"/>
                  <a:gd name="T61" fmla="*/ 2147483647 h 1294"/>
                  <a:gd name="T62" fmla="*/ 2147483647 w 1422"/>
                  <a:gd name="T63" fmla="*/ 2147483647 h 1294"/>
                  <a:gd name="T64" fmla="*/ 2147483647 w 1422"/>
                  <a:gd name="T65" fmla="*/ 2147483647 h 1294"/>
                  <a:gd name="T66" fmla="*/ 2147483647 w 1422"/>
                  <a:gd name="T67" fmla="*/ 2147483647 h 1294"/>
                  <a:gd name="T68" fmla="*/ 2147483647 w 1422"/>
                  <a:gd name="T69" fmla="*/ 2147483647 h 1294"/>
                  <a:gd name="T70" fmla="*/ 2147483647 w 1422"/>
                  <a:gd name="T71" fmla="*/ 2147483647 h 1294"/>
                  <a:gd name="T72" fmla="*/ 2147483647 w 1422"/>
                  <a:gd name="T73" fmla="*/ 2147483647 h 1294"/>
                  <a:gd name="T74" fmla="*/ 2147483647 w 1422"/>
                  <a:gd name="T75" fmla="*/ 2147483647 h 1294"/>
                  <a:gd name="T76" fmla="*/ 2147483647 w 1422"/>
                  <a:gd name="T77" fmla="*/ 0 h 1294"/>
                  <a:gd name="T78" fmla="*/ 2147483647 w 1422"/>
                  <a:gd name="T79" fmla="*/ 0 h 1294"/>
                  <a:gd name="T80" fmla="*/ 2147483647 w 1422"/>
                  <a:gd name="T81" fmla="*/ 2147483647 h 1294"/>
                  <a:gd name="T82" fmla="*/ 2147483647 w 1422"/>
                  <a:gd name="T83" fmla="*/ 2147483647 h 12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22"/>
                  <a:gd name="T127" fmla="*/ 0 h 1294"/>
                  <a:gd name="T128" fmla="*/ 1422 w 1422"/>
                  <a:gd name="T129" fmla="*/ 1294 h 12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22" h="1294">
                    <a:moveTo>
                      <a:pt x="1422" y="329"/>
                    </a:moveTo>
                    <a:lnTo>
                      <a:pt x="1356" y="492"/>
                    </a:lnTo>
                    <a:lnTo>
                      <a:pt x="1293" y="652"/>
                    </a:lnTo>
                    <a:lnTo>
                      <a:pt x="1293" y="654"/>
                    </a:lnTo>
                    <a:lnTo>
                      <a:pt x="1291" y="654"/>
                    </a:lnTo>
                    <a:lnTo>
                      <a:pt x="1291" y="656"/>
                    </a:lnTo>
                    <a:lnTo>
                      <a:pt x="1291" y="654"/>
                    </a:lnTo>
                    <a:lnTo>
                      <a:pt x="1258" y="656"/>
                    </a:lnTo>
                    <a:lnTo>
                      <a:pt x="1226" y="658"/>
                    </a:lnTo>
                    <a:lnTo>
                      <a:pt x="1195" y="661"/>
                    </a:lnTo>
                    <a:lnTo>
                      <a:pt x="1162" y="667"/>
                    </a:lnTo>
                    <a:lnTo>
                      <a:pt x="1132" y="675"/>
                    </a:lnTo>
                    <a:lnTo>
                      <a:pt x="1103" y="684"/>
                    </a:lnTo>
                    <a:lnTo>
                      <a:pt x="1072" y="694"/>
                    </a:lnTo>
                    <a:lnTo>
                      <a:pt x="1043" y="706"/>
                    </a:lnTo>
                    <a:lnTo>
                      <a:pt x="1014" y="719"/>
                    </a:lnTo>
                    <a:lnTo>
                      <a:pt x="988" y="732"/>
                    </a:lnTo>
                    <a:lnTo>
                      <a:pt x="961" y="748"/>
                    </a:lnTo>
                    <a:lnTo>
                      <a:pt x="936" y="765"/>
                    </a:lnTo>
                    <a:lnTo>
                      <a:pt x="911" y="782"/>
                    </a:lnTo>
                    <a:lnTo>
                      <a:pt x="886" y="802"/>
                    </a:lnTo>
                    <a:lnTo>
                      <a:pt x="863" y="821"/>
                    </a:lnTo>
                    <a:lnTo>
                      <a:pt x="840" y="842"/>
                    </a:lnTo>
                    <a:lnTo>
                      <a:pt x="819" y="865"/>
                    </a:lnTo>
                    <a:lnTo>
                      <a:pt x="799" y="888"/>
                    </a:lnTo>
                    <a:lnTo>
                      <a:pt x="780" y="913"/>
                    </a:lnTo>
                    <a:lnTo>
                      <a:pt x="763" y="938"/>
                    </a:lnTo>
                    <a:lnTo>
                      <a:pt x="746" y="963"/>
                    </a:lnTo>
                    <a:lnTo>
                      <a:pt x="730" y="990"/>
                    </a:lnTo>
                    <a:lnTo>
                      <a:pt x="717" y="1017"/>
                    </a:lnTo>
                    <a:lnTo>
                      <a:pt x="703" y="1046"/>
                    </a:lnTo>
                    <a:lnTo>
                      <a:pt x="692" y="1075"/>
                    </a:lnTo>
                    <a:lnTo>
                      <a:pt x="682" y="1105"/>
                    </a:lnTo>
                    <a:lnTo>
                      <a:pt x="675" y="1134"/>
                    </a:lnTo>
                    <a:lnTo>
                      <a:pt x="667" y="1167"/>
                    </a:lnTo>
                    <a:lnTo>
                      <a:pt x="661" y="1197"/>
                    </a:lnTo>
                    <a:lnTo>
                      <a:pt x="657" y="1228"/>
                    </a:lnTo>
                    <a:lnTo>
                      <a:pt x="653" y="1261"/>
                    </a:lnTo>
                    <a:lnTo>
                      <a:pt x="653" y="1294"/>
                    </a:lnTo>
                    <a:lnTo>
                      <a:pt x="490" y="1230"/>
                    </a:lnTo>
                    <a:lnTo>
                      <a:pt x="325" y="1165"/>
                    </a:lnTo>
                    <a:lnTo>
                      <a:pt x="162" y="1230"/>
                    </a:lnTo>
                    <a:lnTo>
                      <a:pt x="0" y="1294"/>
                    </a:lnTo>
                    <a:lnTo>
                      <a:pt x="2" y="1228"/>
                    </a:lnTo>
                    <a:lnTo>
                      <a:pt x="6" y="1163"/>
                    </a:lnTo>
                    <a:lnTo>
                      <a:pt x="16" y="1098"/>
                    </a:lnTo>
                    <a:lnTo>
                      <a:pt x="27" y="1034"/>
                    </a:lnTo>
                    <a:lnTo>
                      <a:pt x="41" y="971"/>
                    </a:lnTo>
                    <a:lnTo>
                      <a:pt x="58" y="911"/>
                    </a:lnTo>
                    <a:lnTo>
                      <a:pt x="79" y="850"/>
                    </a:lnTo>
                    <a:lnTo>
                      <a:pt x="102" y="792"/>
                    </a:lnTo>
                    <a:lnTo>
                      <a:pt x="127" y="734"/>
                    </a:lnTo>
                    <a:lnTo>
                      <a:pt x="156" y="679"/>
                    </a:lnTo>
                    <a:lnTo>
                      <a:pt x="187" y="625"/>
                    </a:lnTo>
                    <a:lnTo>
                      <a:pt x="221" y="573"/>
                    </a:lnTo>
                    <a:lnTo>
                      <a:pt x="258" y="521"/>
                    </a:lnTo>
                    <a:lnTo>
                      <a:pt x="296" y="473"/>
                    </a:lnTo>
                    <a:lnTo>
                      <a:pt x="336" y="425"/>
                    </a:lnTo>
                    <a:lnTo>
                      <a:pt x="379" y="381"/>
                    </a:lnTo>
                    <a:lnTo>
                      <a:pt x="425" y="339"/>
                    </a:lnTo>
                    <a:lnTo>
                      <a:pt x="471" y="296"/>
                    </a:lnTo>
                    <a:lnTo>
                      <a:pt x="519" y="258"/>
                    </a:lnTo>
                    <a:lnTo>
                      <a:pt x="571" y="223"/>
                    </a:lnTo>
                    <a:lnTo>
                      <a:pt x="623" y="189"/>
                    </a:lnTo>
                    <a:lnTo>
                      <a:pt x="676" y="158"/>
                    </a:lnTo>
                    <a:lnTo>
                      <a:pt x="732" y="129"/>
                    </a:lnTo>
                    <a:lnTo>
                      <a:pt x="790" y="102"/>
                    </a:lnTo>
                    <a:lnTo>
                      <a:pt x="847" y="79"/>
                    </a:lnTo>
                    <a:lnTo>
                      <a:pt x="909" y="60"/>
                    </a:lnTo>
                    <a:lnTo>
                      <a:pt x="968" y="41"/>
                    </a:lnTo>
                    <a:lnTo>
                      <a:pt x="1032" y="27"/>
                    </a:lnTo>
                    <a:lnTo>
                      <a:pt x="1095" y="16"/>
                    </a:lnTo>
                    <a:lnTo>
                      <a:pt x="1160" y="8"/>
                    </a:lnTo>
                    <a:lnTo>
                      <a:pt x="1226" y="2"/>
                    </a:lnTo>
                    <a:lnTo>
                      <a:pt x="1291" y="0"/>
                    </a:lnTo>
                    <a:lnTo>
                      <a:pt x="1293" y="0"/>
                    </a:lnTo>
                    <a:lnTo>
                      <a:pt x="1293" y="4"/>
                    </a:lnTo>
                    <a:lnTo>
                      <a:pt x="1356" y="164"/>
                    </a:lnTo>
                    <a:lnTo>
                      <a:pt x="1422" y="329"/>
                    </a:lnTo>
                    <a:close/>
                  </a:path>
                </a:pathLst>
              </a:custGeom>
              <a:solidFill>
                <a:schemeClr val="tx2"/>
              </a:solidFill>
              <a:ln w="9525" cap="rnd">
                <a:solidFill>
                  <a:schemeClr val="bg1"/>
                </a:solidFill>
                <a:round/>
                <a:headEnd/>
                <a:tailEnd/>
              </a:ln>
            </p:spPr>
            <p:txBody>
              <a:bodyPr lIns="103900" tIns="51951" rIns="103900" bIns="51951"/>
              <a:lstStyle/>
              <a:p>
                <a:pPr algn="ctr"/>
                <a:endParaRPr lang="en-US" dirty="0" smtClean="0">
                  <a:solidFill>
                    <a:schemeClr val="bg1"/>
                  </a:solidFill>
                  <a:sym typeface="Trebuchet MS" panose="020B0603020202020204" pitchFamily="34" charset="0"/>
                </a:endParaRPr>
              </a:p>
              <a:p>
                <a:endParaRPr lang="en-US" dirty="0" smtClean="0">
                  <a:solidFill>
                    <a:schemeClr val="bg1"/>
                  </a:solidFill>
                  <a:sym typeface="Trebuchet MS" panose="020B0603020202020204" pitchFamily="34" charset="0"/>
                </a:endParaRPr>
              </a:p>
              <a:p>
                <a:endParaRPr lang="en-US" dirty="0" smtClean="0">
                  <a:solidFill>
                    <a:schemeClr val="bg1"/>
                  </a:solidFill>
                  <a:sym typeface="Trebuchet MS" panose="020B0603020202020204" pitchFamily="34" charset="0"/>
                </a:endParaRPr>
              </a:p>
              <a:p>
                <a:pPr algn="ctr"/>
                <a:endParaRPr lang="en-US" dirty="0">
                  <a:solidFill>
                    <a:schemeClr val="bg1"/>
                  </a:solidFill>
                </a:endParaRPr>
              </a:p>
            </p:txBody>
          </p:sp>
        </p:grpSp>
        <p:sp>
          <p:nvSpPr>
            <p:cNvPr id="6" name="Rectangle 6"/>
            <p:cNvSpPr>
              <a:spLocks noChangeArrowheads="1"/>
            </p:cNvSpPr>
            <p:nvPr>
              <p:custDataLst>
                <p:tags r:id="rId4"/>
              </p:custDataLst>
            </p:nvPr>
          </p:nvSpPr>
          <p:spPr bwMode="gray">
            <a:xfrm>
              <a:off x="6487267" y="1910445"/>
              <a:ext cx="1050672" cy="369332"/>
            </a:xfrm>
            <a:prstGeom prst="rect">
              <a:avLst/>
            </a:prstGeom>
          </p:spPr>
          <p:txBody>
            <a:bodyPr wrap="none" lIns="0" tIns="0" rIns="0" bIns="0" anchor="ctr">
              <a:spAutoFit/>
            </a:bodyPr>
            <a:lstStyle/>
            <a:p>
              <a:pPr algn="ctr"/>
              <a:r>
                <a:rPr lang="en-US" sz="1200" dirty="0" smtClean="0">
                  <a:solidFill>
                    <a:schemeClr val="bg1"/>
                  </a:solidFill>
                  <a:sym typeface="Trebuchet MS" panose="020B0603020202020204" pitchFamily="34" charset="0"/>
                </a:rPr>
                <a:t>Train </a:t>
              </a:r>
              <a:r>
                <a:rPr lang="en-US" sz="1200" b="1" dirty="0">
                  <a:solidFill>
                    <a:schemeClr val="bg1"/>
                  </a:solidFill>
                  <a:sym typeface="Trebuchet MS" panose="020B0603020202020204" pitchFamily="34" charset="0"/>
                </a:rPr>
                <a:t>K</a:t>
              </a:r>
              <a:r>
                <a:rPr lang="en-US" sz="1200" dirty="0" smtClean="0">
                  <a:solidFill>
                    <a:schemeClr val="bg1"/>
                  </a:solidFill>
                  <a:sym typeface="Trebuchet MS" panose="020B0603020202020204" pitchFamily="34" charset="0"/>
                </a:rPr>
                <a:t> models </a:t>
              </a:r>
            </a:p>
            <a:p>
              <a:pPr algn="ctr"/>
              <a:r>
                <a:rPr lang="en-US" sz="1200" dirty="0" smtClean="0">
                  <a:solidFill>
                    <a:schemeClr val="bg1"/>
                  </a:solidFill>
                  <a:sym typeface="Trebuchet MS" panose="020B0603020202020204" pitchFamily="34" charset="0"/>
                </a:rPr>
                <a:t>on sub samples</a:t>
              </a:r>
            </a:p>
          </p:txBody>
        </p:sp>
        <p:sp>
          <p:nvSpPr>
            <p:cNvPr id="7" name="Rectangle 7"/>
            <p:cNvSpPr>
              <a:spLocks noChangeArrowheads="1"/>
            </p:cNvSpPr>
            <p:nvPr>
              <p:custDataLst>
                <p:tags r:id="rId5"/>
              </p:custDataLst>
            </p:nvPr>
          </p:nvSpPr>
          <p:spPr bwMode="gray">
            <a:xfrm>
              <a:off x="4057173" y="1750610"/>
              <a:ext cx="965009" cy="369332"/>
            </a:xfrm>
            <a:prstGeom prst="rect">
              <a:avLst/>
            </a:prstGeom>
          </p:spPr>
          <p:txBody>
            <a:bodyPr wrap="none" lIns="0" tIns="0" rIns="0" bIns="0" anchor="ctr">
              <a:spAutoFit/>
            </a:bodyPr>
            <a:lstStyle/>
            <a:p>
              <a:pPr algn="ctr"/>
              <a:r>
                <a:rPr lang="en-US" sz="1200" dirty="0" smtClean="0">
                  <a:solidFill>
                    <a:schemeClr val="bg1"/>
                  </a:solidFill>
                  <a:sym typeface="Trebuchet MS" panose="020B0603020202020204" pitchFamily="34" charset="0"/>
                </a:rPr>
                <a:t>Split into </a:t>
              </a:r>
            </a:p>
            <a:p>
              <a:pPr algn="ctr"/>
              <a:r>
                <a:rPr lang="en-US" sz="1200" b="1" dirty="0">
                  <a:solidFill>
                    <a:schemeClr val="bg1"/>
                  </a:solidFill>
                  <a:sym typeface="Trebuchet MS" panose="020B0603020202020204" pitchFamily="34" charset="0"/>
                </a:rPr>
                <a:t>K</a:t>
              </a:r>
              <a:r>
                <a:rPr lang="en-US" sz="1200" dirty="0" smtClean="0">
                  <a:solidFill>
                    <a:schemeClr val="bg1"/>
                  </a:solidFill>
                  <a:sym typeface="Trebuchet MS" panose="020B0603020202020204" pitchFamily="34" charset="0"/>
                </a:rPr>
                <a:t> sub samples</a:t>
              </a:r>
              <a:endParaRPr lang="en-US" sz="1200" dirty="0">
                <a:solidFill>
                  <a:schemeClr val="bg1"/>
                </a:solidFill>
                <a:sym typeface="Trebuchet MS" panose="020B0603020202020204" pitchFamily="34" charset="0"/>
              </a:endParaRPr>
            </a:p>
          </p:txBody>
        </p:sp>
        <p:sp>
          <p:nvSpPr>
            <p:cNvPr id="8" name="Rectangle 8"/>
            <p:cNvSpPr>
              <a:spLocks noChangeArrowheads="1"/>
            </p:cNvSpPr>
            <p:nvPr>
              <p:custDataLst>
                <p:tags r:id="rId6"/>
              </p:custDataLst>
            </p:nvPr>
          </p:nvSpPr>
          <p:spPr bwMode="gray">
            <a:xfrm>
              <a:off x="6249904" y="4121172"/>
              <a:ext cx="1197444" cy="369332"/>
            </a:xfrm>
            <a:prstGeom prst="rect">
              <a:avLst/>
            </a:prstGeom>
          </p:spPr>
          <p:txBody>
            <a:bodyPr wrap="none" lIns="0" tIns="0" rIns="0" bIns="0" anchor="ctr">
              <a:spAutoFit/>
            </a:bodyPr>
            <a:lstStyle/>
            <a:p>
              <a:pPr algn="ctr"/>
              <a:r>
                <a:rPr lang="en-US" sz="1200" dirty="0" smtClean="0">
                  <a:solidFill>
                    <a:schemeClr val="bg1"/>
                  </a:solidFill>
                  <a:sym typeface="Trebuchet MS" panose="020B0603020202020204" pitchFamily="34" charset="0"/>
                </a:rPr>
                <a:t>Evaluate models</a:t>
              </a:r>
            </a:p>
            <a:p>
              <a:pPr algn="ctr"/>
              <a:r>
                <a:rPr lang="en-US" sz="1200" dirty="0">
                  <a:solidFill>
                    <a:schemeClr val="bg1"/>
                  </a:solidFill>
                  <a:sym typeface="Trebuchet MS" panose="020B0603020202020204" pitchFamily="34" charset="0"/>
                </a:rPr>
                <a:t>o</a:t>
              </a:r>
              <a:r>
                <a:rPr lang="en-US" sz="1200" dirty="0" smtClean="0">
                  <a:solidFill>
                    <a:schemeClr val="bg1"/>
                  </a:solidFill>
                  <a:sym typeface="Trebuchet MS" panose="020B0603020202020204" pitchFamily="34" charset="0"/>
                </a:rPr>
                <a:t>n scoring metric</a:t>
              </a:r>
              <a:endParaRPr lang="en-US" sz="1200" dirty="0">
                <a:solidFill>
                  <a:schemeClr val="bg1"/>
                </a:solidFill>
                <a:sym typeface="Trebuchet MS" panose="020B0603020202020204" pitchFamily="34" charset="0"/>
              </a:endParaRPr>
            </a:p>
          </p:txBody>
        </p:sp>
        <p:sp>
          <p:nvSpPr>
            <p:cNvPr id="9" name="Rectangle 9"/>
            <p:cNvSpPr>
              <a:spLocks noChangeArrowheads="1"/>
            </p:cNvSpPr>
            <p:nvPr>
              <p:custDataLst>
                <p:tags r:id="rId7"/>
              </p:custDataLst>
            </p:nvPr>
          </p:nvSpPr>
          <p:spPr bwMode="gray">
            <a:xfrm>
              <a:off x="3860930" y="3978890"/>
              <a:ext cx="1106073" cy="553998"/>
            </a:xfrm>
            <a:prstGeom prst="rect">
              <a:avLst/>
            </a:prstGeom>
          </p:spPr>
          <p:txBody>
            <a:bodyPr wrap="none" lIns="0" tIns="0" rIns="0" bIns="0" anchor="ctr">
              <a:spAutoFit/>
            </a:bodyPr>
            <a:lstStyle/>
            <a:p>
              <a:pPr algn="ctr"/>
              <a:r>
                <a:rPr lang="en-US" sz="1200" dirty="0" smtClean="0">
                  <a:solidFill>
                    <a:schemeClr val="bg1"/>
                  </a:solidFill>
                  <a:sym typeface="Trebuchet MS" panose="020B0603020202020204" pitchFamily="34" charset="0"/>
                </a:rPr>
                <a:t>Average model</a:t>
              </a:r>
            </a:p>
            <a:p>
              <a:pPr algn="ctr"/>
              <a:r>
                <a:rPr lang="en-US" sz="1200" dirty="0" smtClean="0">
                  <a:solidFill>
                    <a:schemeClr val="bg1"/>
                  </a:solidFill>
                  <a:sym typeface="Trebuchet MS" panose="020B0603020202020204" pitchFamily="34" charset="0"/>
                </a:rPr>
                <a:t>CV performance</a:t>
              </a:r>
            </a:p>
            <a:p>
              <a:pPr algn="ctr"/>
              <a:r>
                <a:rPr lang="en-US" sz="1200" dirty="0">
                  <a:solidFill>
                    <a:schemeClr val="bg1"/>
                  </a:solidFill>
                  <a:sym typeface="Trebuchet MS" panose="020B0603020202020204" pitchFamily="34" charset="0"/>
                </a:rPr>
                <a:t>a</a:t>
              </a:r>
              <a:r>
                <a:rPr lang="en-US" sz="1200" dirty="0" smtClean="0">
                  <a:solidFill>
                    <a:schemeClr val="bg1"/>
                  </a:solidFill>
                  <a:sym typeface="Trebuchet MS" panose="020B0603020202020204" pitchFamily="34" charset="0"/>
                </a:rPr>
                <a:t>cross k folds</a:t>
              </a:r>
              <a:endParaRPr lang="en-US" sz="1200" dirty="0">
                <a:solidFill>
                  <a:schemeClr val="bg1"/>
                </a:solidFill>
                <a:sym typeface="Trebuchet MS" panose="020B0603020202020204" pitchFamily="34" charset="0"/>
              </a:endParaRPr>
            </a:p>
          </p:txBody>
        </p:sp>
        <p:sp>
          <p:nvSpPr>
            <p:cNvPr id="17" name="ee4pContent2"/>
            <p:cNvSpPr txBox="1"/>
            <p:nvPr/>
          </p:nvSpPr>
          <p:spPr>
            <a:xfrm>
              <a:off x="5161757" y="2965499"/>
              <a:ext cx="1396894" cy="657649"/>
            </a:xfrm>
            <a:prstGeom prst="rect">
              <a:avLst/>
            </a:prstGeom>
            <a:ln cap="rnd">
              <a:noFill/>
              <a:round/>
            </a:ln>
            <a:extLst/>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100" b="1" dirty="0" smtClean="0">
                  <a:latin typeface="+mn-lt"/>
                </a:rPr>
                <a:t>Repeat for Hyperparameter Range</a:t>
              </a:r>
              <a:endParaRPr lang="en-US" sz="1100" b="1" dirty="0">
                <a:latin typeface="+mn-lt"/>
              </a:endParaRPr>
            </a:p>
          </p:txBody>
        </p:sp>
      </p:grpSp>
      <p:sp>
        <p:nvSpPr>
          <p:cNvPr id="18" name="ee4pContent3"/>
          <p:cNvSpPr txBox="1"/>
          <p:nvPr/>
        </p:nvSpPr>
        <p:spPr>
          <a:xfrm>
            <a:off x="9212289" y="2547780"/>
            <a:ext cx="2081013" cy="1661313"/>
          </a:xfrm>
          <a:prstGeom prst="rect">
            <a:avLst/>
          </a:prstGeom>
          <a:ln cap="rnd">
            <a:noFill/>
            <a:round/>
          </a:ln>
          <a:extLst/>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smtClean="0">
                <a:solidFill>
                  <a:schemeClr val="tx1">
                    <a:lumMod val="100000"/>
                  </a:schemeClr>
                </a:solidFill>
              </a:rPr>
              <a:t>CV Results</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Best Score</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Best Parameters</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Best Model</a:t>
            </a:r>
            <a:endParaRPr lang="en-US" dirty="0">
              <a:solidFill>
                <a:schemeClr val="tx1">
                  <a:lumMod val="100000"/>
                </a:schemeClr>
              </a:solidFill>
            </a:endParaRPr>
          </a:p>
        </p:txBody>
      </p:sp>
      <p:sp>
        <p:nvSpPr>
          <p:cNvPr id="21" name="ee4pContent3"/>
          <p:cNvSpPr txBox="1"/>
          <p:nvPr/>
        </p:nvSpPr>
        <p:spPr>
          <a:xfrm>
            <a:off x="3941613" y="5477436"/>
            <a:ext cx="4274266" cy="628747"/>
          </a:xfrm>
          <a:prstGeom prst="rect">
            <a:avLst/>
          </a:prstGeom>
          <a:ln cap="rnd">
            <a:noFill/>
            <a:round/>
          </a:ln>
          <a:extLst/>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lgn="ctr"/>
            <a:r>
              <a:rPr lang="en-US" sz="1600" dirty="0" smtClean="0">
                <a:latin typeface="+mn-lt"/>
              </a:rPr>
              <a:t>Grid Search Steps to optimize the </a:t>
            </a:r>
          </a:p>
          <a:p>
            <a:pPr algn="ctr"/>
            <a:r>
              <a:rPr lang="en-US" sz="1600" dirty="0" smtClean="0">
                <a:latin typeface="+mn-lt"/>
              </a:rPr>
              <a:t>scoring function</a:t>
            </a:r>
            <a:endParaRPr lang="en-US" sz="1600" dirty="0">
              <a:latin typeface="+mn-lt"/>
            </a:endParaRPr>
          </a:p>
        </p:txBody>
      </p:sp>
    </p:spTree>
    <p:custDataLst>
      <p:tags r:id="rId1"/>
    </p:custDataLst>
    <p:extLst>
      <p:ext uri="{BB962C8B-B14F-4D97-AF65-F5344CB8AC3E}">
        <p14:creationId xmlns:p14="http://schemas.microsoft.com/office/powerpoint/2010/main" val="3347471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
        <p:nvSpPr>
          <p:cNvPr id="3" name="TextBox 2"/>
          <p:cNvSpPr txBox="1"/>
          <p:nvPr/>
        </p:nvSpPr>
        <p:spPr>
          <a:xfrm>
            <a:off x="5784783" y="885524"/>
            <a:ext cx="5188017" cy="52842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dirty="0" smtClean="0">
                <a:solidFill>
                  <a:srgbClr val="575757"/>
                </a:solidFill>
              </a:rPr>
              <a:t>Pre-processing and feature engineering</a:t>
            </a:r>
          </a:p>
          <a:p>
            <a:pPr marL="285750" indent="-285750">
              <a:buFont typeface="Arial" panose="020B0604020202020204" pitchFamily="34" charset="0"/>
              <a:buChar char="•"/>
            </a:pP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Tuning other models using decision threshold and model parameters</a:t>
            </a:r>
          </a:p>
          <a:p>
            <a:pPr marL="285750" indent="-285750">
              <a:buFont typeface="Arial" panose="020B0604020202020204" pitchFamily="34" charset="0"/>
              <a:buChar char="•"/>
            </a:pPr>
            <a:endParaRPr lang="en-US" dirty="0" smtClean="0">
              <a:solidFill>
                <a:srgbClr val="575757"/>
              </a:solidFill>
            </a:endParaRPr>
          </a:p>
          <a:p>
            <a:pPr marL="285750" indent="-285750">
              <a:buFont typeface="Arial" panose="020B0604020202020204" pitchFamily="34" charset="0"/>
              <a:buChar char="•"/>
            </a:pPr>
            <a:r>
              <a:rPr lang="en-US" dirty="0" smtClean="0">
                <a:solidFill>
                  <a:srgbClr val="575757"/>
                </a:solidFill>
              </a:rPr>
              <a:t>Trying out neural net classifier</a:t>
            </a:r>
          </a:p>
          <a:p>
            <a:pPr marL="285750" indent="-285750">
              <a:buFont typeface="Arial" panose="020B0604020202020204" pitchFamily="34" charset="0"/>
              <a:buChar char="•"/>
            </a:pPr>
            <a:endParaRPr lang="en-US" dirty="0">
              <a:solidFill>
                <a:srgbClr val="575757"/>
              </a:solidFill>
            </a:endParaRPr>
          </a:p>
          <a:p>
            <a:pPr marL="285750" indent="-285750">
              <a:buFont typeface="Arial" panose="020B0604020202020204" pitchFamily="34" charset="0"/>
              <a:buChar char="•"/>
            </a:pPr>
            <a:r>
              <a:rPr lang="en-US" dirty="0" smtClean="0">
                <a:solidFill>
                  <a:srgbClr val="575757"/>
                </a:solidFill>
              </a:rPr>
              <a:t>Model stacking</a:t>
            </a:r>
          </a:p>
          <a:p>
            <a:pPr marL="285750" indent="-285750">
              <a:buFont typeface="Arial" panose="020B0604020202020204" pitchFamily="34" charset="0"/>
              <a:buChar char="•"/>
            </a:pPr>
            <a:endParaRPr lang="en-US" dirty="0">
              <a:solidFill>
                <a:srgbClr val="575757"/>
              </a:solidFill>
            </a:endParaRPr>
          </a:p>
          <a:p>
            <a:pPr marL="285750" indent="-285750">
              <a:buFont typeface="Arial" panose="020B0604020202020204" pitchFamily="34" charset="0"/>
              <a:buChar char="•"/>
            </a:pPr>
            <a:r>
              <a:rPr lang="en-US" dirty="0" smtClean="0">
                <a:solidFill>
                  <a:srgbClr val="575757"/>
                </a:solidFill>
              </a:rPr>
              <a:t>Dealing with higher dimensional data if possible</a:t>
            </a:r>
          </a:p>
          <a:p>
            <a:pPr marL="285750" indent="-285750">
              <a:buFont typeface="Arial" panose="020B0604020202020204" pitchFamily="34" charset="0"/>
              <a:buChar char="•"/>
            </a:pPr>
            <a:endParaRPr lang="en-US" dirty="0" smtClean="0">
              <a:solidFill>
                <a:srgbClr val="575757"/>
              </a:solidFill>
            </a:endParaRPr>
          </a:p>
        </p:txBody>
      </p:sp>
    </p:spTree>
    <p:extLst>
      <p:ext uri="{BB962C8B-B14F-4D97-AF65-F5344CB8AC3E}">
        <p14:creationId xmlns:p14="http://schemas.microsoft.com/office/powerpoint/2010/main" val="4007077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735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0225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MASTERWIZARD_MARGINS" val="0"/>
  <p:tag name="EE4P_LANGUAGE_ID" val="103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BCG_MODE" val="Documentation"/>
  <p:tag name="BCG_DESIGN" val="Four heading"/>
  <p:tag name="EE4P_STRETCH" val="1"/>
  <p:tag name="EE4P_LAYOUT_ID" val="D"/>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BCG_MODE" val="Documentation"/>
  <p:tag name="BCG_DESIGN" val="Four heading"/>
  <p:tag name="EE4P_STRETCH" val="1"/>
  <p:tag name="EE4P_LAYOUT_ID" val="D"/>
</p:tagLst>
</file>

<file path=ppt/tags/tag142.xml><?xml version="1.0" encoding="utf-8"?>
<p:tagLst xmlns:a="http://schemas.openxmlformats.org/drawingml/2006/main" xmlns:r="http://schemas.openxmlformats.org/officeDocument/2006/relationships" xmlns:p="http://schemas.openxmlformats.org/presentationml/2006/main">
  <p:tag name="EE4P_STRETCH" val="2"/>
  <p:tag name="EE4P_LAYOUT_ID" val="D"/>
</p:tagLst>
</file>

<file path=ppt/tags/tag14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BACA93AB-A3CE-41C6-A55B-C35CF9CEFDFD}" vid="{23B7CEC8-2C99-4261-B38D-2572E8C2F493}"/>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735</TotalTime>
  <Words>766</Words>
  <Application>Microsoft Office PowerPoint</Application>
  <PresentationFormat>Widescreen</PresentationFormat>
  <Paragraphs>208</Paragraphs>
  <Slides>9</Slides>
  <Notes>8</Notes>
  <HiddenSlides>0</HiddenSlides>
  <MMClips>0</MMClips>
  <ScaleCrop>false</ScaleCrop>
  <HeadingPairs>
    <vt:vector size="10"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9</vt:i4>
      </vt:variant>
      <vt:variant>
        <vt:lpstr>Custom Shows</vt:lpstr>
      </vt:variant>
      <vt:variant>
        <vt:i4>1</vt:i4>
      </vt:variant>
    </vt:vector>
  </HeadingPairs>
  <TitlesOfParts>
    <vt:vector size="15" baseType="lpstr">
      <vt:lpstr>Arial</vt:lpstr>
      <vt:lpstr>Trebuchet MS</vt:lpstr>
      <vt:lpstr>BCG Grid 16:9</vt:lpstr>
      <vt:lpstr>1_BCG Grid 16:9</vt:lpstr>
      <vt:lpstr>think-cell Slide</vt:lpstr>
      <vt:lpstr>Selecting best 'classification model' </vt:lpstr>
      <vt:lpstr>- Compare different classification algorithms in python  - Chose the best algorithm and most suitable KPIs  - Tuning model parameters  - Insights from Black-box models</vt:lpstr>
      <vt:lpstr>Comparison of Classification algorithms – Part 1</vt:lpstr>
      <vt:lpstr>Comparison of Classification algorithms – Part 2</vt:lpstr>
      <vt:lpstr>Key Performance metrics for  Classification model</vt:lpstr>
      <vt:lpstr>Hyperparameter Tuning</vt:lpstr>
      <vt:lpstr>Next steps…</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Gupta, Pulkit</cp:lastModifiedBy>
  <cp:revision>524</cp:revision>
  <cp:lastPrinted>1999-12-31T18:30:00Z</cp:lastPrinted>
  <dcterms:created xsi:type="dcterms:W3CDTF">2018-09-26T06:48:16Z</dcterms:created>
  <dcterms:modified xsi:type="dcterms:W3CDTF">2018-10-14T07:34: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